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1.xml" ContentType="application/vnd.openxmlformats-officedocument.presentationml.tags+xml"/>
  <Override PartName="/ppt/notesSlides/notesSlide1.xml" ContentType="application/vnd.openxmlformats-officedocument.presentationml.notesSlide+xml"/>
  <Override PartName="/ppt/tags/tag16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5"/>
  </p:notesMasterIdLst>
  <p:handoutMasterIdLst>
    <p:handoutMasterId r:id="rId6"/>
  </p:handoutMasterIdLst>
  <p:sldIdLst>
    <p:sldId id="258" r:id="rId2"/>
    <p:sldId id="308" r:id="rId3"/>
    <p:sldId id="307" r:id="rId4"/>
  </p:sldIdLst>
  <p:sldSz cx="7561263" cy="10693400"/>
  <p:notesSz cx="6797675" cy="9926638"/>
  <p:custDataLst>
    <p:tags r:id="rId7"/>
  </p:custDataLst>
  <p:defaultTextStyle>
    <a:defPPr>
      <a:defRPr lang="en-US"/>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3B2"/>
    <a:srgbClr val="E4002B"/>
    <a:srgbClr val="000000"/>
    <a:srgbClr val="FFFFFF"/>
    <a:srgbClr val="969797"/>
    <a:srgbClr val="979796"/>
    <a:srgbClr val="C3C4C4"/>
    <a:srgbClr val="DEE1AA"/>
    <a:srgbClr val="FFC5A3"/>
    <a:srgbClr val="FF98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10" autoAdjust="0"/>
    <p:restoredTop sz="93120" autoAdjust="0"/>
  </p:normalViewPr>
  <p:slideViewPr>
    <p:cSldViewPr snapToGrid="0">
      <p:cViewPr varScale="1">
        <p:scale>
          <a:sx n="74" d="100"/>
          <a:sy n="74" d="100"/>
        </p:scale>
        <p:origin x="3090"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6" d="100"/>
          <a:sy n="86" d="100"/>
        </p:scale>
        <p:origin x="2928"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A5CC0A17-3E35-4921-BF07-F4A461A7E825}" type="datetimeFigureOut">
              <a:rPr lang="en-NZ" smtClean="0"/>
              <a:t>25/01/2024</a:t>
            </a:fld>
            <a:endParaRPr lang="en-NZ"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NZ"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50881CBE-B88E-49F7-A36D-8BEACD82F9E3}" type="slidenum">
              <a:rPr lang="en-NZ" smtClean="0"/>
              <a:t>‹#›</a:t>
            </a:fld>
            <a:endParaRPr lang="en-NZ" dirty="0"/>
          </a:p>
        </p:txBody>
      </p:sp>
    </p:spTree>
    <p:extLst>
      <p:ext uri="{BB962C8B-B14F-4D97-AF65-F5344CB8AC3E}">
        <p14:creationId xmlns:p14="http://schemas.microsoft.com/office/powerpoint/2010/main" val="1855904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36F24F6-1556-47AD-907E-11C4C804A6C2}" type="datetimeFigureOut">
              <a:rPr lang="en-GB" smtClean="0"/>
              <a:t>25/01/2024</a:t>
            </a:fld>
            <a:endParaRPr lang="en-GB" dirty="0"/>
          </a:p>
        </p:txBody>
      </p:sp>
      <p:sp>
        <p:nvSpPr>
          <p:cNvPr id="4" name="Slide Image Placeholder 3"/>
          <p:cNvSpPr>
            <a:spLocks noGrp="1" noRot="1" noChangeAspect="1"/>
          </p:cNvSpPr>
          <p:nvPr>
            <p:ph type="sldImg" idx="2"/>
          </p:nvPr>
        </p:nvSpPr>
        <p:spPr>
          <a:xfrm>
            <a:off x="2082800" y="744538"/>
            <a:ext cx="263207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8731FDDB-74AF-466F-B92E-1346EC410FDE}" type="slidenum">
              <a:rPr lang="en-GB" smtClean="0"/>
              <a:t>‹#›</a:t>
            </a:fld>
            <a:endParaRPr lang="en-GB" dirty="0"/>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995690" rtl="0" eaLnBrk="1" latinLnBrk="0" hangingPunct="1">
      <a:defRPr sz="1300" kern="1200">
        <a:solidFill>
          <a:schemeClr val="tx1"/>
        </a:solidFill>
        <a:latin typeface="+mn-lt"/>
        <a:ea typeface="+mn-ea"/>
        <a:cs typeface="+mn-cs"/>
      </a:defRPr>
    </a:lvl1pPr>
    <a:lvl2pPr marL="497845" algn="l" defTabSz="995690" rtl="0" eaLnBrk="1" latinLnBrk="0" hangingPunct="1">
      <a:defRPr sz="1300" kern="1200">
        <a:solidFill>
          <a:schemeClr val="tx1"/>
        </a:solidFill>
        <a:latin typeface="+mn-lt"/>
        <a:ea typeface="+mn-ea"/>
        <a:cs typeface="+mn-cs"/>
      </a:defRPr>
    </a:lvl2pPr>
    <a:lvl3pPr marL="995690" algn="l" defTabSz="995690" rtl="0" eaLnBrk="1" latinLnBrk="0" hangingPunct="1">
      <a:defRPr sz="1300" kern="1200">
        <a:solidFill>
          <a:schemeClr val="tx1"/>
        </a:solidFill>
        <a:latin typeface="+mn-lt"/>
        <a:ea typeface="+mn-ea"/>
        <a:cs typeface="+mn-cs"/>
      </a:defRPr>
    </a:lvl3pPr>
    <a:lvl4pPr marL="1493535" algn="l" defTabSz="995690" rtl="0" eaLnBrk="1" latinLnBrk="0" hangingPunct="1">
      <a:defRPr sz="1300" kern="1200">
        <a:solidFill>
          <a:schemeClr val="tx1"/>
        </a:solidFill>
        <a:latin typeface="+mn-lt"/>
        <a:ea typeface="+mn-ea"/>
        <a:cs typeface="+mn-cs"/>
      </a:defRPr>
    </a:lvl4pPr>
    <a:lvl5pPr marL="1991380" algn="l" defTabSz="995690" rtl="0" eaLnBrk="1" latinLnBrk="0" hangingPunct="1">
      <a:defRPr sz="1300" kern="1200">
        <a:solidFill>
          <a:schemeClr val="tx1"/>
        </a:solidFill>
        <a:latin typeface="+mn-lt"/>
        <a:ea typeface="+mn-ea"/>
        <a:cs typeface="+mn-cs"/>
      </a:defRPr>
    </a:lvl5pPr>
    <a:lvl6pPr marL="2489225" algn="l" defTabSz="995690" rtl="0" eaLnBrk="1" latinLnBrk="0" hangingPunct="1">
      <a:defRPr sz="1300" kern="1200">
        <a:solidFill>
          <a:schemeClr val="tx1"/>
        </a:solidFill>
        <a:latin typeface="+mn-lt"/>
        <a:ea typeface="+mn-ea"/>
        <a:cs typeface="+mn-cs"/>
      </a:defRPr>
    </a:lvl6pPr>
    <a:lvl7pPr marL="2987070" algn="l" defTabSz="995690" rtl="0" eaLnBrk="1" latinLnBrk="0" hangingPunct="1">
      <a:defRPr sz="1300" kern="1200">
        <a:solidFill>
          <a:schemeClr val="tx1"/>
        </a:solidFill>
        <a:latin typeface="+mn-lt"/>
        <a:ea typeface="+mn-ea"/>
        <a:cs typeface="+mn-cs"/>
      </a:defRPr>
    </a:lvl7pPr>
    <a:lvl8pPr marL="3484916" algn="l" defTabSz="995690" rtl="0" eaLnBrk="1" latinLnBrk="0" hangingPunct="1">
      <a:defRPr sz="1300" kern="1200">
        <a:solidFill>
          <a:schemeClr val="tx1"/>
        </a:solidFill>
        <a:latin typeface="+mn-lt"/>
        <a:ea typeface="+mn-ea"/>
        <a:cs typeface="+mn-cs"/>
      </a:defRPr>
    </a:lvl8pPr>
    <a:lvl9pPr marL="3982761" algn="l" defTabSz="99569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0</a:t>
            </a:fld>
            <a:endParaRPr lang="en-GB" dirty="0"/>
          </a:p>
        </p:txBody>
      </p:sp>
    </p:spTree>
    <p:extLst>
      <p:ext uri="{BB962C8B-B14F-4D97-AF65-F5344CB8AC3E}">
        <p14:creationId xmlns:p14="http://schemas.microsoft.com/office/powerpoint/2010/main" val="2485680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1</a:t>
            </a:fld>
            <a:endParaRPr lang="en-GB" dirty="0"/>
          </a:p>
        </p:txBody>
      </p:sp>
    </p:spTree>
    <p:extLst>
      <p:ext uri="{BB962C8B-B14F-4D97-AF65-F5344CB8AC3E}">
        <p14:creationId xmlns:p14="http://schemas.microsoft.com/office/powerpoint/2010/main" val="3393213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2</a:t>
            </a:fld>
            <a:endParaRPr lang="en-GB" dirty="0"/>
          </a:p>
        </p:txBody>
      </p:sp>
    </p:spTree>
    <p:extLst>
      <p:ext uri="{BB962C8B-B14F-4D97-AF65-F5344CB8AC3E}">
        <p14:creationId xmlns:p14="http://schemas.microsoft.com/office/powerpoint/2010/main" val="16958333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10.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16.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slideMaster" Target="../slideMasters/slideMaster1.xml"/><Relationship Id="rId5" Type="http://schemas.openxmlformats.org/officeDocument/2006/relationships/tags" Target="../tags/tag6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17.bin"/><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 Type="http://schemas.openxmlformats.org/officeDocument/2006/relationships/tags" Target="../tags/tag85.xml"/><Relationship Id="rId21" Type="http://schemas.openxmlformats.org/officeDocument/2006/relationships/tags" Target="../tags/tag103.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image" Target="../media/image1.emf"/><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oleObject" Target="../embeddings/oleObject18.bin"/><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1.emf"/><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oleObject" Target="../embeddings/oleObject19.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slideMaster" Target="../slideMasters/slideMaster1.xml"/><Relationship Id="rId5" Type="http://schemas.openxmlformats.org/officeDocument/2006/relationships/tags" Target="../tags/tag113.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5.xml"/><Relationship Id="rId7" Type="http://schemas.openxmlformats.org/officeDocument/2006/relationships/oleObject" Target="../embeddings/oleObject22.bin"/><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slideMaster" Target="../slideMasters/slideMaster1.xml"/><Relationship Id="rId5" Type="http://schemas.openxmlformats.org/officeDocument/2006/relationships/tags" Target="../tags/tag127.xml"/><Relationship Id="rId4" Type="http://schemas.openxmlformats.org/officeDocument/2006/relationships/tags" Target="../tags/tag126.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30.xml"/><Relationship Id="rId7"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41.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emf"/><Relationship Id="rId5" Type="http://schemas.openxmlformats.org/officeDocument/2006/relationships/tags" Target="../tags/tag138.xml"/><Relationship Id="rId10" Type="http://schemas.openxmlformats.org/officeDocument/2006/relationships/oleObject" Target="../embeddings/oleObject24.bin"/><Relationship Id="rId4" Type="http://schemas.openxmlformats.org/officeDocument/2006/relationships/tags" Target="../tags/tag137.xml"/><Relationship Id="rId9"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image" Target="../media/image1.emf"/><Relationship Id="rId2" Type="http://schemas.openxmlformats.org/officeDocument/2006/relationships/tags" Target="../tags/tag143.xml"/><Relationship Id="rId16" Type="http://schemas.openxmlformats.org/officeDocument/2006/relationships/oleObject" Target="../embeddings/oleObject25.bin"/><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slideMaster" Target="../slideMasters/slideMaster1.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8.xml"/><Relationship Id="rId7" Type="http://schemas.openxmlformats.org/officeDocument/2006/relationships/oleObject" Target="../embeddings/oleObject26.bin"/><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jpg"/><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One">
    <p:bg>
      <p:bgPr>
        <a:solidFill>
          <a:schemeClr val="bg1"/>
        </a:solidFill>
        <a:effectLst/>
      </p:bgPr>
    </p:bg>
    <p:spTree>
      <p:nvGrpSpPr>
        <p:cNvPr id="1" name=""/>
        <p:cNvGrpSpPr/>
        <p:nvPr/>
      </p:nvGrpSpPr>
      <p:grpSpPr>
        <a:xfrm>
          <a:off x="0" y="0"/>
          <a:ext cx="0" cy="0"/>
          <a:chOff x="0" y="0"/>
          <a:chExt cx="0" cy="0"/>
        </a:xfrm>
      </p:grpSpPr>
      <p:pic>
        <p:nvPicPr>
          <p:cNvPr id="13" name="Picture Placeholder 10"/>
          <p:cNvPicPr>
            <a:picLocks noChangeAspect="1"/>
          </p:cNvPicPr>
          <p:nvPr userDrawn="1">
            <p:custDataLst>
              <p:tags r:id="rId1"/>
            </p:custDataLst>
          </p:nvPr>
        </p:nvPicPr>
        <p:blipFill rotWithShape="1">
          <a:blip r:embed="rId6" cstate="screen">
            <a:extLst>
              <a:ext uri="{28A0092B-C50C-407E-A947-70E740481C1C}">
                <a14:useLocalDpi xmlns:a14="http://schemas.microsoft.com/office/drawing/2010/main"/>
              </a:ext>
            </a:extLst>
          </a:blip>
          <a:srcRect l="19553" t="1223" r="35263"/>
          <a:stretch/>
        </p:blipFill>
        <p:spPr>
          <a:xfrm flipH="1">
            <a:off x="-4" y="1833564"/>
            <a:ext cx="7561263" cy="8859836"/>
          </a:xfrm>
          <a:prstGeom prst="rect">
            <a:avLst/>
          </a:prstGeom>
          <a:noFill/>
          <a:ln>
            <a:noFill/>
          </a:ln>
        </p:spPr>
      </p:pic>
      <p:sp>
        <p:nvSpPr>
          <p:cNvPr id="10" name="Freeform 295"/>
          <p:cNvSpPr>
            <a:spLocks/>
          </p:cNvSpPr>
          <p:nvPr userDrawn="1"/>
        </p:nvSpPr>
        <p:spPr bwMode="auto">
          <a:xfrm>
            <a:off x="0" y="1833564"/>
            <a:ext cx="5661025" cy="8858250"/>
          </a:xfrm>
          <a:custGeom>
            <a:avLst/>
            <a:gdLst>
              <a:gd name="T0" fmla="*/ 593 w 3566"/>
              <a:gd name="T1" fmla="*/ 5580 h 5580"/>
              <a:gd name="T2" fmla="*/ 3566 w 3566"/>
              <a:gd name="T3" fmla="*/ 0 h 5580"/>
              <a:gd name="T4" fmla="*/ 0 w 3566"/>
              <a:gd name="T5" fmla="*/ 0 h 5580"/>
              <a:gd name="T6" fmla="*/ 0 w 3566"/>
              <a:gd name="T7" fmla="*/ 5580 h 5580"/>
              <a:gd name="T8" fmla="*/ 593 w 3566"/>
              <a:gd name="T9" fmla="*/ 5580 h 5580"/>
            </a:gdLst>
            <a:ahLst/>
            <a:cxnLst>
              <a:cxn ang="0">
                <a:pos x="T0" y="T1"/>
              </a:cxn>
              <a:cxn ang="0">
                <a:pos x="T2" y="T3"/>
              </a:cxn>
              <a:cxn ang="0">
                <a:pos x="T4" y="T5"/>
              </a:cxn>
              <a:cxn ang="0">
                <a:pos x="T6" y="T7"/>
              </a:cxn>
              <a:cxn ang="0">
                <a:pos x="T8" y="T9"/>
              </a:cxn>
            </a:cxnLst>
            <a:rect l="0" t="0" r="r" b="b"/>
            <a:pathLst>
              <a:path w="3566" h="5580">
                <a:moveTo>
                  <a:pt x="593" y="5580"/>
                </a:moveTo>
                <a:lnTo>
                  <a:pt x="3566" y="0"/>
                </a:lnTo>
                <a:lnTo>
                  <a:pt x="0" y="0"/>
                </a:lnTo>
                <a:lnTo>
                  <a:pt x="0" y="5580"/>
                </a:lnTo>
                <a:lnTo>
                  <a:pt x="593"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5" name="Object 4" hidden="1"/>
          <p:cNvGraphicFramePr>
            <a:graphicFrameLocks/>
          </p:cNvGraphicFramePr>
          <p:nvPr userDrawn="1">
            <p:custDataLst>
              <p:tags r:id="rId2"/>
            </p:custDataLst>
            <p:extLst>
              <p:ext uri="{D42A27DB-BD31-4B8C-83A1-F6EECF244321}">
                <p14:modId xmlns:p14="http://schemas.microsoft.com/office/powerpoint/2010/main" val="2256750319"/>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14" name="Text Placeholder 13"/>
          <p:cNvSpPr>
            <a:spLocks noGrp="1"/>
          </p:cNvSpPr>
          <p:nvPr>
            <p:ph type="body" sz="quarter" idx="11" hasCustomPrompt="1"/>
            <p:custDataLst>
              <p:tags r:id="rId3"/>
            </p:custDataLst>
          </p:nvPr>
        </p:nvSpPr>
        <p:spPr>
          <a:xfrm>
            <a:off x="687102" y="2342731"/>
            <a:ext cx="4037013" cy="2175980"/>
          </a:xfrm>
          <a:prstGeom prst="rect">
            <a:avLst/>
          </a:prstGeom>
          <a:noFill/>
        </p:spPr>
        <p:txBody>
          <a:bodyPr/>
          <a:lstStyle>
            <a:lvl1pPr>
              <a:lnSpc>
                <a:spcPct val="100000"/>
              </a:lnSpc>
              <a:spcAft>
                <a:spcPts val="600"/>
              </a:spcAft>
              <a:defRPr sz="3200" b="0" baseline="0">
                <a:solidFill>
                  <a:schemeClr val="bg1"/>
                </a:solidFill>
              </a:defRPr>
            </a:lvl1pPr>
            <a:lvl2pPr>
              <a:spcBef>
                <a:spcPts val="0"/>
              </a:spcBef>
              <a:spcAft>
                <a:spcPts val="3600"/>
              </a:spcAft>
              <a:defRPr sz="1200" b="1" baseline="0">
                <a:solidFill>
                  <a:schemeClr val="bg1"/>
                </a:solidFill>
              </a:defRPr>
            </a:lvl2pPr>
            <a:lvl3pPr marL="0" indent="0">
              <a:buNone/>
              <a:defRPr sz="1000" b="0">
                <a:solidFill>
                  <a:schemeClr val="bg1"/>
                </a:solidFill>
              </a:defRPr>
            </a:lvl3pPr>
            <a:lvl4pPr marL="0" indent="0">
              <a:buNone/>
              <a:defRPr sz="1200" b="1" baseline="0">
                <a:solidFill>
                  <a:schemeClr val="bg1"/>
                </a:solidFill>
              </a:defRPr>
            </a:lvl4pPr>
            <a:lvl5pPr>
              <a:defRPr>
                <a:solidFill>
                  <a:schemeClr val="bg1"/>
                </a:solidFill>
              </a:defRPr>
            </a:lvl5pPr>
          </a:lstStyle>
          <a:p>
            <a:pPr lvl="0"/>
            <a:r>
              <a:rPr lang="en-US" dirty="0"/>
              <a:t>Presentation title here</a:t>
            </a:r>
          </a:p>
          <a:p>
            <a:pPr lvl="1"/>
            <a:r>
              <a:rPr lang="en-US" dirty="0"/>
              <a:t>Optional date</a:t>
            </a:r>
          </a:p>
          <a:p>
            <a:pPr lvl="2"/>
            <a:r>
              <a:rPr lang="en-US" dirty="0"/>
              <a:t>Prepared for</a:t>
            </a:r>
          </a:p>
          <a:p>
            <a:pPr lvl="3"/>
            <a:r>
              <a:rPr lang="en-US" dirty="0"/>
              <a:t>Client/Company name</a:t>
            </a:r>
            <a:endParaRPr lang="en-NZ" dirty="0"/>
          </a:p>
        </p:txBody>
      </p:sp>
      <p:sp>
        <p:nvSpPr>
          <p:cNvPr id="56" name="Picture Placeholder 14"/>
          <p:cNvSpPr>
            <a:spLocks noGrp="1"/>
          </p:cNvSpPr>
          <p:nvPr>
            <p:ph type="pic" sz="quarter" idx="10" hasCustomPrompt="1"/>
            <p:custDataLst>
              <p:tags r:id="rId4"/>
            </p:custDataLst>
          </p:nvPr>
        </p:nvSpPr>
        <p:spPr>
          <a:xfrm>
            <a:off x="5393282" y="535116"/>
            <a:ext cx="1515396" cy="763333"/>
          </a:xfrm>
          <a:prstGeom prst="rect">
            <a:avLst/>
          </a:prstGeom>
        </p:spPr>
        <p:txBody>
          <a:bodyPr anchor="ctr" anchorCtr="1">
            <a:noAutofit/>
          </a:bodyPr>
          <a:lstStyle>
            <a:lvl1pPr>
              <a:defRPr>
                <a:solidFill>
                  <a:schemeClr val="tx1"/>
                </a:solidFill>
              </a:defRPr>
            </a:lvl1pPr>
          </a:lstStyle>
          <a:p>
            <a:r>
              <a:rPr lang="en-GB" dirty="0"/>
              <a:t>Client logo</a:t>
            </a: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38547499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with Imag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721590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6" name="Object 5"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0" name="Picture Placeholder 11"/>
          <p:cNvSpPr>
            <a:spLocks noGrp="1"/>
          </p:cNvSpPr>
          <p:nvPr>
            <p:ph type="pic" sz="quarter" idx="15"/>
            <p:custDataLst>
              <p:tags r:id="rId2"/>
            </p:custDataLst>
          </p:nvPr>
        </p:nvSpPr>
        <p:spPr>
          <a:xfrm>
            <a:off x="-17003" y="8414993"/>
            <a:ext cx="4217309" cy="2286027"/>
          </a:xfrm>
          <a:custGeom>
            <a:avLst/>
            <a:gdLst>
              <a:gd name="connsiteX0" fmla="*/ 0 w 5581650"/>
              <a:gd name="connsiteY0" fmla="*/ 0 h 1936750"/>
              <a:gd name="connsiteX1" fmla="*/ 5581650 w 5581650"/>
              <a:gd name="connsiteY1" fmla="*/ 0 h 1936750"/>
              <a:gd name="connsiteX2" fmla="*/ 5581650 w 5581650"/>
              <a:gd name="connsiteY2" fmla="*/ 1936750 h 1936750"/>
              <a:gd name="connsiteX3" fmla="*/ 0 w 5581650"/>
              <a:gd name="connsiteY3" fmla="*/ 1936750 h 1936750"/>
              <a:gd name="connsiteX4" fmla="*/ 0 w 5581650"/>
              <a:gd name="connsiteY4" fmla="*/ 0 h 1936750"/>
              <a:gd name="connsiteX0" fmla="*/ 0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0 w 5581650"/>
              <a:gd name="connsiteY4" fmla="*/ 0 h 1936750"/>
              <a:gd name="connsiteX0" fmla="*/ 161925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161925 w 5581650"/>
              <a:gd name="connsiteY4" fmla="*/ 0 h 1936750"/>
              <a:gd name="connsiteX0" fmla="*/ 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0 w 5419725"/>
              <a:gd name="connsiteY4" fmla="*/ 0 h 1936751"/>
              <a:gd name="connsiteX0" fmla="*/ 83820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838200 w 5419725"/>
              <a:gd name="connsiteY4" fmla="*/ 0 h 1936751"/>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2695575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43300 w 4581525"/>
              <a:gd name="connsiteY2" fmla="*/ 1936750 h 1936750"/>
              <a:gd name="connsiteX3" fmla="*/ 0 w 4581525"/>
              <a:gd name="connsiteY3" fmla="*/ 1936750 h 1936750"/>
              <a:gd name="connsiteX4" fmla="*/ 0 w 4581525"/>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771525 w 5353050"/>
              <a:gd name="connsiteY3" fmla="*/ 1936750 h 1936750"/>
              <a:gd name="connsiteX4" fmla="*/ 0 w 5353050"/>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0 w 5353050"/>
              <a:gd name="connsiteY3" fmla="*/ 1936750 h 1936750"/>
              <a:gd name="connsiteX4" fmla="*/ 0 w 53530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38100 w 5391150"/>
              <a:gd name="connsiteY3" fmla="*/ 1936750 h 1936750"/>
              <a:gd name="connsiteX4" fmla="*/ 0 w 53911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0 w 5391150"/>
              <a:gd name="connsiteY3" fmla="*/ 1936750 h 1936750"/>
              <a:gd name="connsiteX4" fmla="*/ 0 w 5391150"/>
              <a:gd name="connsiteY4" fmla="*/ 0 h 1936750"/>
              <a:gd name="connsiteX0" fmla="*/ 1811218 w 5391150"/>
              <a:gd name="connsiteY0" fmla="*/ 0 h 1943242"/>
              <a:gd name="connsiteX1" fmla="*/ 5391150 w 5391150"/>
              <a:gd name="connsiteY1" fmla="*/ 6492 h 1943242"/>
              <a:gd name="connsiteX2" fmla="*/ 4352925 w 5391150"/>
              <a:gd name="connsiteY2" fmla="*/ 1943242 h 1943242"/>
              <a:gd name="connsiteX3" fmla="*/ 0 w 5391150"/>
              <a:gd name="connsiteY3" fmla="*/ 1943242 h 1943242"/>
              <a:gd name="connsiteX4" fmla="*/ 1811218 w 5391150"/>
              <a:gd name="connsiteY4" fmla="*/ 0 h 1943242"/>
              <a:gd name="connsiteX0" fmla="*/ 0 w 3579932"/>
              <a:gd name="connsiteY0" fmla="*/ 0 h 1943242"/>
              <a:gd name="connsiteX1" fmla="*/ 3579932 w 3579932"/>
              <a:gd name="connsiteY1" fmla="*/ 6492 h 1943242"/>
              <a:gd name="connsiteX2" fmla="*/ 2541707 w 3579932"/>
              <a:gd name="connsiteY2" fmla="*/ 1943242 h 1943242"/>
              <a:gd name="connsiteX3" fmla="*/ 1090626 w 3579932"/>
              <a:gd name="connsiteY3" fmla="*/ 917534 h 1943242"/>
              <a:gd name="connsiteX4" fmla="*/ 0 w 3579932"/>
              <a:gd name="connsiteY4" fmla="*/ 0 h 1943242"/>
              <a:gd name="connsiteX0" fmla="*/ 12984 w 3592916"/>
              <a:gd name="connsiteY0" fmla="*/ 0 h 1949734"/>
              <a:gd name="connsiteX1" fmla="*/ 3592916 w 3592916"/>
              <a:gd name="connsiteY1" fmla="*/ 6492 h 1949734"/>
              <a:gd name="connsiteX2" fmla="*/ 2554691 w 3592916"/>
              <a:gd name="connsiteY2" fmla="*/ 1943242 h 1949734"/>
              <a:gd name="connsiteX3" fmla="*/ 0 w 3592916"/>
              <a:gd name="connsiteY3" fmla="*/ 1949734 h 1949734"/>
              <a:gd name="connsiteX4" fmla="*/ 12984 w 3592916"/>
              <a:gd name="connsiteY4" fmla="*/ 0 h 1949734"/>
              <a:gd name="connsiteX0" fmla="*/ 0 w 3599408"/>
              <a:gd name="connsiteY0" fmla="*/ 6492 h 1943242"/>
              <a:gd name="connsiteX1" fmla="*/ 3599408 w 3599408"/>
              <a:gd name="connsiteY1" fmla="*/ 0 h 1943242"/>
              <a:gd name="connsiteX2" fmla="*/ 2561183 w 3599408"/>
              <a:gd name="connsiteY2" fmla="*/ 1936750 h 1943242"/>
              <a:gd name="connsiteX3" fmla="*/ 6492 w 3599408"/>
              <a:gd name="connsiteY3" fmla="*/ 1943242 h 1943242"/>
              <a:gd name="connsiteX4" fmla="*/ 0 w 3599408"/>
              <a:gd name="connsiteY4" fmla="*/ 6492 h 1943242"/>
              <a:gd name="connsiteX0" fmla="*/ 9738 w 3592916"/>
              <a:gd name="connsiteY0" fmla="*/ 0 h 1947570"/>
              <a:gd name="connsiteX1" fmla="*/ 3592916 w 3592916"/>
              <a:gd name="connsiteY1" fmla="*/ 4328 h 1947570"/>
              <a:gd name="connsiteX2" fmla="*/ 2554691 w 3592916"/>
              <a:gd name="connsiteY2" fmla="*/ 1941078 h 1947570"/>
              <a:gd name="connsiteX3" fmla="*/ 0 w 3592916"/>
              <a:gd name="connsiteY3" fmla="*/ 1947570 h 1947570"/>
              <a:gd name="connsiteX4" fmla="*/ 9738 w 3592916"/>
              <a:gd name="connsiteY4" fmla="*/ 0 h 1947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916" h="1947570">
                <a:moveTo>
                  <a:pt x="9738" y="0"/>
                </a:moveTo>
                <a:lnTo>
                  <a:pt x="3592916" y="4328"/>
                </a:lnTo>
                <a:lnTo>
                  <a:pt x="2554691" y="1941078"/>
                </a:lnTo>
                <a:lnTo>
                  <a:pt x="0" y="1947570"/>
                </a:lnTo>
                <a:lnTo>
                  <a:pt x="9738" y="0"/>
                </a:lnTo>
                <a:close/>
              </a:path>
            </a:pathLst>
          </a:custGeom>
          <a:solidFill>
            <a:schemeClr val="bg1">
              <a:lumMod val="95000"/>
            </a:schemeClr>
          </a:solidFill>
        </p:spPr>
        <p:txBody>
          <a:bodyPr anchor="ctr">
            <a:noAutofit/>
          </a:bodyPr>
          <a:lstStyle>
            <a:lvl1pPr algn="ctr">
              <a:defRPr>
                <a:solidFill>
                  <a:schemeClr val="tx1"/>
                </a:solidFill>
              </a:defRPr>
            </a:lvl1pPr>
          </a:lstStyle>
          <a:p>
            <a:r>
              <a:rPr lang="en-US" dirty="0"/>
              <a:t>Click icon to add picture</a:t>
            </a:r>
          </a:p>
        </p:txBody>
      </p:sp>
      <p:sp>
        <p:nvSpPr>
          <p:cNvPr id="19" name="Picture Placeholder 10"/>
          <p:cNvSpPr>
            <a:spLocks noGrp="1"/>
          </p:cNvSpPr>
          <p:nvPr>
            <p:ph type="pic" sz="quarter" idx="14"/>
            <p:custDataLst>
              <p:tags r:id="rId3"/>
            </p:custDataLst>
          </p:nvPr>
        </p:nvSpPr>
        <p:spPr>
          <a:xfrm>
            <a:off x="3143169" y="8414993"/>
            <a:ext cx="4420779" cy="2284438"/>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1030287 w 5143499"/>
              <a:gd name="connsiteY0" fmla="*/ 1493837 h 3430588"/>
              <a:gd name="connsiteX1" fmla="*/ 5143499 w 5143499"/>
              <a:gd name="connsiteY1" fmla="*/ 0 h 3430588"/>
              <a:gd name="connsiteX2" fmla="*/ 5143499 w 5143499"/>
              <a:gd name="connsiteY2" fmla="*/ 3430588 h 3430588"/>
              <a:gd name="connsiteX3" fmla="*/ 0 w 5143499"/>
              <a:gd name="connsiteY3" fmla="*/ 3430587 h 3430588"/>
              <a:gd name="connsiteX4" fmla="*/ 1030287 w 5143499"/>
              <a:gd name="connsiteY4" fmla="*/ 1493837 h 3430588"/>
              <a:gd name="connsiteX0" fmla="*/ 1030287 w 5143499"/>
              <a:gd name="connsiteY0" fmla="*/ 0 h 1936751"/>
              <a:gd name="connsiteX1" fmla="*/ 5143499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5143499"/>
              <a:gd name="connsiteY0" fmla="*/ 0 h 1936751"/>
              <a:gd name="connsiteX1" fmla="*/ 4581524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4581524"/>
              <a:gd name="connsiteY0" fmla="*/ 0 h 1936751"/>
              <a:gd name="connsiteX1" fmla="*/ 4581524 w 4581524"/>
              <a:gd name="connsiteY1" fmla="*/ 0 h 1936751"/>
              <a:gd name="connsiteX2" fmla="*/ 4581524 w 4581524"/>
              <a:gd name="connsiteY2" fmla="*/ 1936751 h 1936751"/>
              <a:gd name="connsiteX3" fmla="*/ 0 w 4581524"/>
              <a:gd name="connsiteY3" fmla="*/ 1936750 h 1936751"/>
              <a:gd name="connsiteX4" fmla="*/ 1030287 w 4581524"/>
              <a:gd name="connsiteY4" fmla="*/ 0 h 1936751"/>
              <a:gd name="connsiteX0" fmla="*/ 1030287 w 5429249"/>
              <a:gd name="connsiteY0" fmla="*/ 0 h 1936751"/>
              <a:gd name="connsiteX1" fmla="*/ 5429249 w 5429249"/>
              <a:gd name="connsiteY1" fmla="*/ 0 h 1936751"/>
              <a:gd name="connsiteX2" fmla="*/ 4581524 w 5429249"/>
              <a:gd name="connsiteY2" fmla="*/ 1936751 h 1936751"/>
              <a:gd name="connsiteX3" fmla="*/ 0 w 5429249"/>
              <a:gd name="connsiteY3" fmla="*/ 1936750 h 1936751"/>
              <a:gd name="connsiteX4" fmla="*/ 1030287 w 5429249"/>
              <a:gd name="connsiteY4" fmla="*/ 0 h 1936751"/>
              <a:gd name="connsiteX0" fmla="*/ 1030287 w 5429249"/>
              <a:gd name="connsiteY0" fmla="*/ 0 h 1936750"/>
              <a:gd name="connsiteX1" fmla="*/ 5429249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5429249"/>
              <a:gd name="connsiteY0" fmla="*/ 0 h 1936750"/>
              <a:gd name="connsiteX1" fmla="*/ 4568825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30287 w 4568825"/>
              <a:gd name="connsiteY4" fmla="*/ 0 h 1936750"/>
              <a:gd name="connsiteX0" fmla="*/ 1051374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51374 w 4568825"/>
              <a:gd name="connsiteY4" fmla="*/ 0 h 1936750"/>
              <a:gd name="connsiteX0" fmla="*/ 1039324 w 4556775"/>
              <a:gd name="connsiteY0" fmla="*/ 0 h 1936750"/>
              <a:gd name="connsiteX1" fmla="*/ 4556775 w 4556775"/>
              <a:gd name="connsiteY1" fmla="*/ 0 h 1936750"/>
              <a:gd name="connsiteX2" fmla="*/ 4556775 w 4556775"/>
              <a:gd name="connsiteY2" fmla="*/ 1936750 h 1936750"/>
              <a:gd name="connsiteX3" fmla="*/ 0 w 4556775"/>
              <a:gd name="connsiteY3" fmla="*/ 1936750 h 1936750"/>
              <a:gd name="connsiteX4" fmla="*/ 1039324 w 4556775"/>
              <a:gd name="connsiteY4" fmla="*/ 0 h 1936750"/>
              <a:gd name="connsiteX0" fmla="*/ 1039324 w 4556775"/>
              <a:gd name="connsiteY0" fmla="*/ 2705 h 1939455"/>
              <a:gd name="connsiteX1" fmla="*/ 3707428 w 4556775"/>
              <a:gd name="connsiteY1" fmla="*/ 0 h 1939455"/>
              <a:gd name="connsiteX2" fmla="*/ 4556775 w 4556775"/>
              <a:gd name="connsiteY2" fmla="*/ 1939455 h 1939455"/>
              <a:gd name="connsiteX3" fmla="*/ 0 w 4556775"/>
              <a:gd name="connsiteY3" fmla="*/ 1939455 h 1939455"/>
              <a:gd name="connsiteX4" fmla="*/ 1039324 w 4556775"/>
              <a:gd name="connsiteY4" fmla="*/ 2705 h 1939455"/>
              <a:gd name="connsiteX0" fmla="*/ 1039324 w 3707428"/>
              <a:gd name="connsiteY0" fmla="*/ 2705 h 1939455"/>
              <a:gd name="connsiteX1" fmla="*/ 3707428 w 3707428"/>
              <a:gd name="connsiteY1" fmla="*/ 0 h 1939455"/>
              <a:gd name="connsiteX2" fmla="*/ 3031197 w 3707428"/>
              <a:gd name="connsiteY2" fmla="*/ 1728471 h 1939455"/>
              <a:gd name="connsiteX3" fmla="*/ 0 w 3707428"/>
              <a:gd name="connsiteY3" fmla="*/ 1939455 h 1939455"/>
              <a:gd name="connsiteX4" fmla="*/ 1039324 w 3707428"/>
              <a:gd name="connsiteY4" fmla="*/ 2705 h 1939455"/>
              <a:gd name="connsiteX0" fmla="*/ 1039324 w 3707429"/>
              <a:gd name="connsiteY0" fmla="*/ 2705 h 1950275"/>
              <a:gd name="connsiteX1" fmla="*/ 3707428 w 3707429"/>
              <a:gd name="connsiteY1" fmla="*/ 0 h 1950275"/>
              <a:gd name="connsiteX2" fmla="*/ 3707429 w 3707429"/>
              <a:gd name="connsiteY2" fmla="*/ 1950275 h 1950275"/>
              <a:gd name="connsiteX3" fmla="*/ 0 w 3707429"/>
              <a:gd name="connsiteY3" fmla="*/ 1939455 h 1950275"/>
              <a:gd name="connsiteX4" fmla="*/ 1039324 w 3707429"/>
              <a:gd name="connsiteY4" fmla="*/ 2705 h 1950275"/>
              <a:gd name="connsiteX0" fmla="*/ 1039324 w 3739887"/>
              <a:gd name="connsiteY0" fmla="*/ 2705 h 1950275"/>
              <a:gd name="connsiteX1" fmla="*/ 3739887 w 3739887"/>
              <a:gd name="connsiteY1" fmla="*/ 0 h 1950275"/>
              <a:gd name="connsiteX2" fmla="*/ 3707429 w 3739887"/>
              <a:gd name="connsiteY2" fmla="*/ 1950275 h 1950275"/>
              <a:gd name="connsiteX3" fmla="*/ 0 w 3739887"/>
              <a:gd name="connsiteY3" fmla="*/ 1939455 h 1950275"/>
              <a:gd name="connsiteX4" fmla="*/ 1039324 w 3739887"/>
              <a:gd name="connsiteY4" fmla="*/ 2705 h 1950275"/>
              <a:gd name="connsiteX0" fmla="*/ 1039324 w 3739887"/>
              <a:gd name="connsiteY0" fmla="*/ 2705 h 1950275"/>
              <a:gd name="connsiteX1" fmla="*/ 3739887 w 3739887"/>
              <a:gd name="connsiteY1" fmla="*/ 0 h 1950275"/>
              <a:gd name="connsiteX2" fmla="*/ 3735831 w 3739887"/>
              <a:gd name="connsiteY2" fmla="*/ 1950275 h 1950275"/>
              <a:gd name="connsiteX3" fmla="*/ 0 w 3739887"/>
              <a:gd name="connsiteY3" fmla="*/ 1939455 h 1950275"/>
              <a:gd name="connsiteX4" fmla="*/ 1039324 w 3739887"/>
              <a:gd name="connsiteY4" fmla="*/ 2705 h 1950275"/>
              <a:gd name="connsiteX0" fmla="*/ 1039324 w 3766260"/>
              <a:gd name="connsiteY0" fmla="*/ 2705 h 1950275"/>
              <a:gd name="connsiteX1" fmla="*/ 3766260 w 3766260"/>
              <a:gd name="connsiteY1" fmla="*/ 0 h 1950275"/>
              <a:gd name="connsiteX2" fmla="*/ 3735831 w 3766260"/>
              <a:gd name="connsiteY2" fmla="*/ 1950275 h 1950275"/>
              <a:gd name="connsiteX3" fmla="*/ 0 w 3766260"/>
              <a:gd name="connsiteY3" fmla="*/ 1939455 h 1950275"/>
              <a:gd name="connsiteX4" fmla="*/ 1039324 w 3766260"/>
              <a:gd name="connsiteY4" fmla="*/ 2705 h 1950275"/>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6262" h="1946217">
                <a:moveTo>
                  <a:pt x="1039324" y="2705"/>
                </a:moveTo>
                <a:lnTo>
                  <a:pt x="3766260" y="0"/>
                </a:lnTo>
                <a:cubicBezTo>
                  <a:pt x="3766261" y="973108"/>
                  <a:pt x="3766261" y="973108"/>
                  <a:pt x="3766262" y="1946217"/>
                </a:cubicBezTo>
                <a:lnTo>
                  <a:pt x="0" y="1939455"/>
                </a:lnTo>
                <a:lnTo>
                  <a:pt x="1039324" y="2705"/>
                </a:lnTo>
                <a:close/>
              </a:path>
            </a:pathLst>
          </a:custGeom>
          <a:solidFill>
            <a:schemeClr val="bg1">
              <a:lumMod val="95000"/>
            </a:schemeClr>
          </a:solidFill>
        </p:spPr>
        <p:txBody>
          <a:bodyPr anchor="ctr">
            <a:noAutofit/>
          </a:bodyPr>
          <a:lstStyle>
            <a:lvl1pPr algn="ctr">
              <a:defRPr>
                <a:solidFill>
                  <a:schemeClr val="tx1"/>
                </a:solidFill>
              </a:defRPr>
            </a:lvl1pPr>
          </a:lstStyle>
          <a:p>
            <a:r>
              <a:rPr lang="en-US" dirty="0"/>
              <a:t>Click icon to add pictur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9"/>
          <p:cNvSpPr>
            <a:spLocks noGrp="1"/>
          </p:cNvSpPr>
          <p:nvPr>
            <p:ph type="body" sz="quarter" idx="16" hasCustomPrompt="1"/>
            <p:custDataLst>
              <p:tags r:id="rId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cxnSp>
        <p:nvCxnSpPr>
          <p:cNvPr id="11" name="Straight Connector 10"/>
          <p:cNvCxnSpPr/>
          <p:nvPr userDrawn="1">
            <p:custDataLst>
              <p:tags r:id="rId5"/>
            </p:custDataLst>
          </p:nvPr>
        </p:nvCxnSpPr>
        <p:spPr>
          <a:xfrm>
            <a:off x="684000" y="1330185"/>
            <a:ext cx="6228000" cy="0"/>
          </a:xfrm>
          <a:prstGeom prst="line">
            <a:avLst/>
          </a:prstGeom>
          <a:ln w="190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5537897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p:spTree>
      <p:nvGrpSpPr>
        <p:cNvPr id="1" name=""/>
        <p:cNvGrpSpPr/>
        <p:nvPr/>
      </p:nvGrpSpPr>
      <p:grpSpPr>
        <a:xfrm>
          <a:off x="0" y="0"/>
          <a:ext cx="0" cy="0"/>
          <a:chOff x="0" y="0"/>
          <a:chExt cx="0" cy="0"/>
        </a:xfrm>
      </p:grpSpPr>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23448955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Right">
    <p:spTree>
      <p:nvGrpSpPr>
        <p:cNvPr id="1" name=""/>
        <p:cNvGrpSpPr/>
        <p:nvPr/>
      </p:nvGrpSpPr>
      <p:grpSpPr>
        <a:xfrm>
          <a:off x="0" y="0"/>
          <a:ext cx="0" cy="0"/>
          <a:chOff x="0" y="0"/>
          <a:chExt cx="0" cy="0"/>
        </a:xfrm>
      </p:grpSpPr>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9009992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83998"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4"/>
          <p:cNvSpPr>
            <a:spLocks noGrp="1"/>
          </p:cNvSpPr>
          <p:nvPr>
            <p:ph type="body" sz="quarter" idx="12"/>
          </p:nvPr>
        </p:nvSpPr>
        <p:spPr>
          <a:xfrm>
            <a:off x="2835780"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4"/>
          <p:cNvSpPr>
            <a:spLocks noGrp="1"/>
          </p:cNvSpPr>
          <p:nvPr>
            <p:ph type="body" sz="quarter" idx="13"/>
          </p:nvPr>
        </p:nvSpPr>
        <p:spPr>
          <a:xfrm>
            <a:off x="4987562"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281564525"/>
      </p:ext>
    </p:extLst>
  </p:cSld>
  <p:clrMapOvr>
    <a:masterClrMapping/>
  </p:clrMapOvr>
  <p:extLst>
    <p:ext uri="{DCECCB84-F9BA-43D5-87BE-67443E8EF086}">
      <p15:sldGuideLst xmlns:p15="http://schemas.microsoft.com/office/powerpoint/2012/main">
        <p15:guide id="1" pos="1656" userDrawn="1">
          <p15:clr>
            <a:srgbClr val="FBAE40"/>
          </p15:clr>
        </p15:guide>
        <p15:guide id="2" pos="1792" userDrawn="1">
          <p15:clr>
            <a:srgbClr val="FBAE40"/>
          </p15:clr>
        </p15:guide>
        <p15:guide id="3" pos="2994" userDrawn="1">
          <p15:clr>
            <a:srgbClr val="FBAE40"/>
          </p15:clr>
        </p15:guide>
        <p15:guide id="4" pos="313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946751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Half Page Image">
    <p:spTree>
      <p:nvGrpSpPr>
        <p:cNvPr id="1" name=""/>
        <p:cNvGrpSpPr/>
        <p:nvPr/>
      </p:nvGrpSpPr>
      <p:grpSpPr>
        <a:xfrm>
          <a:off x="0" y="0"/>
          <a:ext cx="0" cy="0"/>
          <a:chOff x="0" y="0"/>
          <a:chExt cx="0" cy="0"/>
        </a:xfrm>
      </p:grpSpPr>
      <p:sp>
        <p:nvSpPr>
          <p:cNvPr id="9" name="Picture Placeholder 5"/>
          <p:cNvSpPr>
            <a:spLocks noGrp="1"/>
          </p:cNvSpPr>
          <p:nvPr>
            <p:ph type="pic" sz="quarter" idx="15"/>
          </p:nvPr>
        </p:nvSpPr>
        <p:spPr>
          <a:xfrm>
            <a:off x="3889375" y="1817689"/>
            <a:ext cx="3024187" cy="7988711"/>
          </a:xfrm>
          <a:prstGeom prst="rect">
            <a:avLst/>
          </a:prstGeom>
          <a:solidFill>
            <a:schemeClr val="bg1">
              <a:lumMod val="95000"/>
            </a:schemeClr>
          </a:solidFill>
        </p:spPr>
        <p:txBody>
          <a:bodyPr anchor="ctr" anchorCtr="1">
            <a:noAutofit/>
          </a:bodyPr>
          <a:lstStyle>
            <a:lvl1pPr>
              <a:defRPr>
                <a:solidFill>
                  <a:schemeClr val="tx1"/>
                </a:solidFill>
              </a:defRPr>
            </a:lvl1pPr>
          </a:lstStyle>
          <a:p>
            <a:r>
              <a:rPr lang="en-US" dirty="0"/>
              <a:t>Click icon to add picture</a:t>
            </a:r>
            <a:endParaRPr lang="en-GB"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82538000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allout One">
    <p:spTree>
      <p:nvGrpSpPr>
        <p:cNvPr id="1" name=""/>
        <p:cNvGrpSpPr/>
        <p:nvPr/>
      </p:nvGrpSpPr>
      <p:grpSpPr>
        <a:xfrm>
          <a:off x="0" y="0"/>
          <a:ext cx="0" cy="0"/>
          <a:chOff x="0" y="0"/>
          <a:chExt cx="0" cy="0"/>
        </a:xfrm>
      </p:grpSpPr>
      <p:sp>
        <p:nvSpPr>
          <p:cNvPr id="10" name="Picture Placeholder 19"/>
          <p:cNvSpPr>
            <a:spLocks noGrp="1"/>
          </p:cNvSpPr>
          <p:nvPr>
            <p:ph type="pic" sz="quarter" idx="11" hasCustomPrompt="1"/>
            <p:custDataLst>
              <p:tags r:id="rId1"/>
            </p:custDataLst>
          </p:nvPr>
        </p:nvSpPr>
        <p:spPr>
          <a:xfrm>
            <a:off x="1226482" y="-3175"/>
            <a:ext cx="6335579" cy="1069657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7899"/>
              <a:gd name="connsiteY0" fmla="*/ 0 h 10696575"/>
              <a:gd name="connsiteX1" fmla="*/ 6335579 w 6337899"/>
              <a:gd name="connsiteY1" fmla="*/ 2381 h 10696575"/>
              <a:gd name="connsiteX2" fmla="*/ 6335579 w 6337899"/>
              <a:gd name="connsiteY2" fmla="*/ 10694193 h 10696575"/>
              <a:gd name="connsiteX3" fmla="*/ 0 w 6337899"/>
              <a:gd name="connsiteY3" fmla="*/ 10696575 h 10696575"/>
              <a:gd name="connsiteX4" fmla="*/ 5632914 w 6337899"/>
              <a:gd name="connsiteY4" fmla="*/ 0 h 10696575"/>
              <a:gd name="connsiteX0" fmla="*/ 5632914 w 6335579"/>
              <a:gd name="connsiteY0" fmla="*/ 0 h 10696575"/>
              <a:gd name="connsiteX1" fmla="*/ 6335579 w 6335579"/>
              <a:gd name="connsiteY1" fmla="*/ 2381 h 10696575"/>
              <a:gd name="connsiteX2" fmla="*/ 6335579 w 6335579"/>
              <a:gd name="connsiteY2" fmla="*/ 10694193 h 10696575"/>
              <a:gd name="connsiteX3" fmla="*/ 0 w 6335579"/>
              <a:gd name="connsiteY3" fmla="*/ 10696575 h 10696575"/>
              <a:gd name="connsiteX4" fmla="*/ 5632914 w 6335579"/>
              <a:gd name="connsiteY4" fmla="*/ 0 h 1069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5579" h="10696575">
                <a:moveTo>
                  <a:pt x="5632914" y="0"/>
                </a:moveTo>
                <a:lnTo>
                  <a:pt x="6335579" y="2381"/>
                </a:lnTo>
                <a:cubicBezTo>
                  <a:pt x="6321291" y="5349478"/>
                  <a:pt x="6335579" y="5348287"/>
                  <a:pt x="6335579" y="10694193"/>
                </a:cubicBezTo>
                <a:lnTo>
                  <a:pt x="0" y="10696575"/>
                </a:lnTo>
                <a:lnTo>
                  <a:pt x="5632914" y="0"/>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4" name="Freeform 13"/>
          <p:cNvSpPr/>
          <p:nvPr userDrawn="1"/>
        </p:nvSpPr>
        <p:spPr>
          <a:xfrm>
            <a:off x="0" y="0"/>
            <a:ext cx="6708775" cy="10693400"/>
          </a:xfrm>
          <a:custGeom>
            <a:avLst/>
            <a:gdLst>
              <a:gd name="connsiteX0" fmla="*/ 0 w 6708775"/>
              <a:gd name="connsiteY0" fmla="*/ 0 h 10693400"/>
              <a:gd name="connsiteX1" fmla="*/ 6708775 w 6708775"/>
              <a:gd name="connsiteY1" fmla="*/ 0 h 10693400"/>
              <a:gd name="connsiteX2" fmla="*/ 1045984 w 6708775"/>
              <a:gd name="connsiteY2" fmla="*/ 10693400 h 10693400"/>
              <a:gd name="connsiteX3" fmla="*/ 0 w 6708775"/>
              <a:gd name="connsiteY3" fmla="*/ 10693400 h 10693400"/>
              <a:gd name="connsiteX4" fmla="*/ 0 w 6708775"/>
              <a:gd name="connsiteY4" fmla="*/ 0 h 1069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10693400">
                <a:moveTo>
                  <a:pt x="0" y="0"/>
                </a:moveTo>
                <a:lnTo>
                  <a:pt x="6708775" y="0"/>
                </a:lnTo>
                <a:lnTo>
                  <a:pt x="1045984" y="10693400"/>
                </a:lnTo>
                <a:lnTo>
                  <a:pt x="0" y="106934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73953675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3" name="Text Placeholder 2"/>
          <p:cNvSpPr>
            <a:spLocks noGrp="1"/>
          </p:cNvSpPr>
          <p:nvPr>
            <p:ph type="body" idx="1" hasCustomPrompt="1"/>
            <p:custDataLst>
              <p:tags r:id="rId3"/>
            </p:custDataLst>
          </p:nvPr>
        </p:nvSpPr>
        <p:spPr>
          <a:xfrm>
            <a:off x="701675" y="3594417"/>
            <a:ext cx="2978150" cy="304699"/>
          </a:xfrm>
          <a:prstGeom prst="rect">
            <a:avLst/>
          </a:prstGeom>
        </p:spPr>
        <p:txBody>
          <a:bodyPr vert="horz" wrap="square" lIns="0" tIns="0" rIns="0" bIns="0" rtlCol="0">
            <a:spAutoFit/>
          </a:bodyPr>
          <a:lstStyle>
            <a:lvl1pPr>
              <a:defRPr lang="en-US" sz="1800" smtClean="0">
                <a:solidFill>
                  <a:schemeClr val="bg1"/>
                </a:solidFill>
              </a:defRPr>
            </a:lvl1pPr>
          </a:lstStyle>
          <a:p>
            <a:pPr lvl="0"/>
            <a:r>
              <a:rPr lang="en-US" dirty="0"/>
              <a:t>Call out message</a:t>
            </a:r>
          </a:p>
        </p:txBody>
      </p:sp>
      <p:sp>
        <p:nvSpPr>
          <p:cNvPr id="5" name="Text Placeholder 4"/>
          <p:cNvSpPr>
            <a:spLocks noGrp="1"/>
          </p:cNvSpPr>
          <p:nvPr>
            <p:ph type="body" sz="quarter" idx="10" hasCustomPrompt="1"/>
            <p:custDataLst>
              <p:tags r:id="rId4"/>
            </p:custDataLst>
          </p:nvPr>
        </p:nvSpPr>
        <p:spPr>
          <a:xfrm>
            <a:off x="701675" y="1198800"/>
            <a:ext cx="4235450" cy="1625060"/>
          </a:xfrm>
          <a:prstGeom prst="rect">
            <a:avLst/>
          </a:prstGeom>
        </p:spPr>
        <p:txBody>
          <a:bodyPr wrap="square">
            <a:spAutoFit/>
          </a:bodyPr>
          <a:lstStyle>
            <a:lvl1pPr>
              <a:lnSpc>
                <a:spcPct val="80000"/>
              </a:lnSpc>
              <a:spcAft>
                <a:spcPts val="0"/>
              </a:spcAft>
              <a:defRPr sz="6600" b="0" baseline="0">
                <a:solidFill>
                  <a:schemeClr val="bg1"/>
                </a:solidFill>
              </a:defRPr>
            </a:lvl1pPr>
          </a:lstStyle>
          <a:p>
            <a:pPr lvl="0"/>
            <a:r>
              <a:rPr lang="en-US" dirty="0"/>
              <a:t>Callout </a:t>
            </a:r>
            <a:br>
              <a:rPr lang="en-US" dirty="0"/>
            </a:br>
            <a:r>
              <a:rPr lang="en-US" dirty="0"/>
              <a:t>text</a:t>
            </a:r>
          </a:p>
        </p:txBody>
      </p:sp>
    </p:spTree>
    <p:extLst>
      <p:ext uri="{BB962C8B-B14F-4D97-AF65-F5344CB8AC3E}">
        <p14:creationId xmlns:p14="http://schemas.microsoft.com/office/powerpoint/2010/main" val="3535358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allout Two">
    <p:spTree>
      <p:nvGrpSpPr>
        <p:cNvPr id="1" name=""/>
        <p:cNvGrpSpPr/>
        <p:nvPr/>
      </p:nvGrpSpPr>
      <p:grpSpPr>
        <a:xfrm>
          <a:off x="0" y="0"/>
          <a:ext cx="0" cy="0"/>
          <a:chOff x="0" y="0"/>
          <a:chExt cx="0" cy="0"/>
        </a:xfrm>
      </p:grpSpPr>
      <p:sp>
        <p:nvSpPr>
          <p:cNvPr id="9" name="Picture Placeholder 19"/>
          <p:cNvSpPr>
            <a:spLocks noGrp="1"/>
          </p:cNvSpPr>
          <p:nvPr>
            <p:ph type="pic" sz="quarter" idx="11" hasCustomPrompt="1"/>
            <p:custDataLst>
              <p:tags r:id="rId1"/>
            </p:custDataLst>
          </p:nvPr>
        </p:nvSpPr>
        <p:spPr>
          <a:xfrm>
            <a:off x="1226482" y="-3175"/>
            <a:ext cx="6335579" cy="1069657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7899"/>
              <a:gd name="connsiteY0" fmla="*/ 0 h 10696575"/>
              <a:gd name="connsiteX1" fmla="*/ 6335579 w 6337899"/>
              <a:gd name="connsiteY1" fmla="*/ 2381 h 10696575"/>
              <a:gd name="connsiteX2" fmla="*/ 6335579 w 6337899"/>
              <a:gd name="connsiteY2" fmla="*/ 10694193 h 10696575"/>
              <a:gd name="connsiteX3" fmla="*/ 0 w 6337899"/>
              <a:gd name="connsiteY3" fmla="*/ 10696575 h 10696575"/>
              <a:gd name="connsiteX4" fmla="*/ 5632914 w 6337899"/>
              <a:gd name="connsiteY4" fmla="*/ 0 h 10696575"/>
              <a:gd name="connsiteX0" fmla="*/ 5632914 w 6335579"/>
              <a:gd name="connsiteY0" fmla="*/ 0 h 10696575"/>
              <a:gd name="connsiteX1" fmla="*/ 6335579 w 6335579"/>
              <a:gd name="connsiteY1" fmla="*/ 2381 h 10696575"/>
              <a:gd name="connsiteX2" fmla="*/ 6335579 w 6335579"/>
              <a:gd name="connsiteY2" fmla="*/ 10694193 h 10696575"/>
              <a:gd name="connsiteX3" fmla="*/ 0 w 6335579"/>
              <a:gd name="connsiteY3" fmla="*/ 10696575 h 10696575"/>
              <a:gd name="connsiteX4" fmla="*/ 5632914 w 6335579"/>
              <a:gd name="connsiteY4" fmla="*/ 0 h 1069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5579" h="10696575">
                <a:moveTo>
                  <a:pt x="5632914" y="0"/>
                </a:moveTo>
                <a:lnTo>
                  <a:pt x="6335579" y="2381"/>
                </a:lnTo>
                <a:cubicBezTo>
                  <a:pt x="6321291" y="5349478"/>
                  <a:pt x="6335579" y="5348287"/>
                  <a:pt x="6335579" y="10694193"/>
                </a:cubicBezTo>
                <a:lnTo>
                  <a:pt x="0" y="10696575"/>
                </a:lnTo>
                <a:lnTo>
                  <a:pt x="5632914" y="0"/>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0" name="Freeform 9"/>
          <p:cNvSpPr/>
          <p:nvPr userDrawn="1"/>
        </p:nvSpPr>
        <p:spPr>
          <a:xfrm>
            <a:off x="0" y="0"/>
            <a:ext cx="6708775" cy="10693400"/>
          </a:xfrm>
          <a:custGeom>
            <a:avLst/>
            <a:gdLst>
              <a:gd name="connsiteX0" fmla="*/ 0 w 6708775"/>
              <a:gd name="connsiteY0" fmla="*/ 0 h 10693400"/>
              <a:gd name="connsiteX1" fmla="*/ 6708775 w 6708775"/>
              <a:gd name="connsiteY1" fmla="*/ 0 h 10693400"/>
              <a:gd name="connsiteX2" fmla="*/ 1045984 w 6708775"/>
              <a:gd name="connsiteY2" fmla="*/ 10693400 h 10693400"/>
              <a:gd name="connsiteX3" fmla="*/ 0 w 6708775"/>
              <a:gd name="connsiteY3" fmla="*/ 10693400 h 10693400"/>
              <a:gd name="connsiteX4" fmla="*/ 0 w 6708775"/>
              <a:gd name="connsiteY4" fmla="*/ 0 h 1069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10693400">
                <a:moveTo>
                  <a:pt x="0" y="0"/>
                </a:moveTo>
                <a:lnTo>
                  <a:pt x="6708775" y="0"/>
                </a:lnTo>
                <a:lnTo>
                  <a:pt x="1045984" y="10693400"/>
                </a:lnTo>
                <a:lnTo>
                  <a:pt x="0" y="106934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8428703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3" name="Text Placeholder 2"/>
          <p:cNvSpPr>
            <a:spLocks noGrp="1"/>
          </p:cNvSpPr>
          <p:nvPr>
            <p:ph type="body" idx="1" hasCustomPrompt="1"/>
            <p:custDataLst>
              <p:tags r:id="rId3"/>
            </p:custDataLst>
          </p:nvPr>
        </p:nvSpPr>
        <p:spPr>
          <a:xfrm>
            <a:off x="701675" y="2934344"/>
            <a:ext cx="2479626" cy="304699"/>
          </a:xfrm>
          <a:prstGeom prst="rect">
            <a:avLst/>
          </a:prstGeom>
        </p:spPr>
        <p:txBody>
          <a:bodyPr vert="horz" wrap="square" lIns="0" tIns="0" rIns="0" bIns="0" rtlCol="0">
            <a:spAutoFit/>
          </a:bodyPr>
          <a:lstStyle>
            <a:lvl1pPr>
              <a:defRPr lang="en-US" sz="1800" i="1" smtClean="0">
                <a:solidFill>
                  <a:schemeClr val="bg1"/>
                </a:solidFill>
                <a:latin typeface="Georgia" panose="02040502050405020303" pitchFamily="18" charset="0"/>
              </a:defRPr>
            </a:lvl1pPr>
          </a:lstStyle>
          <a:p>
            <a:pPr lvl="0"/>
            <a:r>
              <a:rPr lang="en-US" dirty="0"/>
              <a:t>Call out message</a:t>
            </a:r>
          </a:p>
        </p:txBody>
      </p:sp>
      <p:sp>
        <p:nvSpPr>
          <p:cNvPr id="5" name="Text Placeholder 4"/>
          <p:cNvSpPr>
            <a:spLocks noGrp="1"/>
          </p:cNvSpPr>
          <p:nvPr>
            <p:ph type="body" sz="quarter" idx="10" hasCustomPrompt="1"/>
            <p:custDataLst>
              <p:tags r:id="rId4"/>
            </p:custDataLst>
          </p:nvPr>
        </p:nvSpPr>
        <p:spPr>
          <a:xfrm>
            <a:off x="701675" y="990089"/>
            <a:ext cx="4037013" cy="1231106"/>
          </a:xfrm>
          <a:prstGeom prst="rect">
            <a:avLst/>
          </a:prstGeom>
        </p:spPr>
        <p:txBody>
          <a:bodyPr wrap="square">
            <a:spAutoFit/>
          </a:bodyPr>
          <a:lstStyle>
            <a:lvl1pPr>
              <a:lnSpc>
                <a:spcPct val="80000"/>
              </a:lnSpc>
              <a:spcAft>
                <a:spcPts val="0"/>
              </a:spcAft>
              <a:defRPr sz="10000" b="0" i="1" baseline="0">
                <a:solidFill>
                  <a:schemeClr val="bg1"/>
                </a:solidFill>
                <a:latin typeface="Georgia" panose="02040502050405020303" pitchFamily="18" charset="0"/>
              </a:defRPr>
            </a:lvl1pPr>
          </a:lstStyle>
          <a:p>
            <a:pPr lvl="0"/>
            <a:r>
              <a:rPr lang="en-US" dirty="0"/>
              <a:t>##</a:t>
            </a:r>
          </a:p>
        </p:txBody>
      </p:sp>
    </p:spTree>
    <p:extLst>
      <p:ext uri="{BB962C8B-B14F-4D97-AF65-F5344CB8AC3E}">
        <p14:creationId xmlns:p14="http://schemas.microsoft.com/office/powerpoint/2010/main" val="3463568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Message On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884399" y="1817688"/>
            <a:ext cx="3029163" cy="7988712"/>
          </a:xfrm>
          <a:prstGeom prst="rect">
            <a:avLst/>
          </a:prstGeom>
          <a:solidFill>
            <a:schemeClr val="bg2"/>
          </a:solidFill>
        </p:spPr>
        <p:txBody>
          <a:bodyPr lIns="108000" tIns="72000" rIns="72000" bIns="72000">
            <a:noAutofit/>
          </a:bodyPr>
          <a:lstStyle>
            <a:lvl1pPr>
              <a:defRPr sz="1200" i="1">
                <a:solidFill>
                  <a:schemeClr val="bg1"/>
                </a:solidFill>
                <a:latin typeface="Georgia" panose="02040502050405020303" pitchFamily="18" charset="0"/>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12489049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Message Tw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8255" y="1817688"/>
            <a:ext cx="3015308" cy="8002567"/>
          </a:xfrm>
          <a:prstGeom prst="rect">
            <a:avLst/>
          </a:prstGeom>
          <a:noFill/>
        </p:spPr>
        <p:txBody>
          <a:bodyPr lIns="0" tIns="0" rIns="0" bIns="0">
            <a:noAutofit/>
          </a:bodyPr>
          <a:lstStyle>
            <a:lvl1pPr>
              <a:defRPr sz="3200" i="1" baseline="0">
                <a:solidFill>
                  <a:schemeClr val="tx2"/>
                </a:solidFill>
                <a:latin typeface="Georgia" panose="02040502050405020303" pitchFamily="18" charset="0"/>
              </a:defRPr>
            </a:lvl1pPr>
            <a:lvl2pPr>
              <a:defRPr sz="1100" i="1" baseline="0">
                <a:solidFill>
                  <a:schemeClr val="tx2"/>
                </a:solidFill>
                <a:latin typeface="Georgia" panose="02040502050405020303" pitchFamily="18" charset="0"/>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dirty="0"/>
              <a:t>Pulled Quote</a:t>
            </a:r>
            <a:br>
              <a:rPr lang="en-US" dirty="0"/>
            </a:br>
            <a:r>
              <a:rPr lang="en-US" dirty="0"/>
              <a:t>Number</a:t>
            </a:r>
          </a:p>
          <a:p>
            <a:pPr lvl="1"/>
            <a:r>
              <a:rPr lang="en-US" sz="1100" dirty="0">
                <a:latin typeface="Georgia" panose="02040502050405020303" pitchFamily="18" charset="0"/>
              </a:rPr>
              <a:t>Key message information</a:t>
            </a:r>
            <a:endParaRPr lang="en-US"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6"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067116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w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347239731"/>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0" y="0"/>
                        <a:ext cx="112252" cy="224510"/>
                      </a:xfrm>
                      <a:prstGeom prst="rect">
                        <a:avLst/>
                      </a:prstGeom>
                    </p:spPr>
                  </p:pic>
                </p:oleObj>
              </mc:Fallback>
            </mc:AlternateContent>
          </a:graphicData>
        </a:graphic>
      </p:graphicFrame>
      <p:pic>
        <p:nvPicPr>
          <p:cNvPr id="9" name="Picture Placeholder 36"/>
          <p:cNvPicPr>
            <a:picLocks noChangeAspect="1"/>
          </p:cNvPicPr>
          <p:nvPr userDrawn="1">
            <p:custDataLst>
              <p:tags r:id="rId2"/>
            </p:custDataLst>
          </p:nvPr>
        </p:nvPicPr>
        <p:blipFill rotWithShape="1">
          <a:blip r:embed="rId8" cstate="screen">
            <a:extLst>
              <a:ext uri="{28A0092B-C50C-407E-A947-70E740481C1C}">
                <a14:useLocalDpi xmlns:a14="http://schemas.microsoft.com/office/drawing/2010/main"/>
              </a:ext>
            </a:extLst>
          </a:blip>
          <a:srcRect l="4069" t="8935" r="51913" b="7972"/>
          <a:stretch/>
        </p:blipFill>
        <p:spPr>
          <a:xfrm flipH="1">
            <a:off x="988" y="0"/>
            <a:ext cx="7560273" cy="10690171"/>
          </a:xfrm>
          <a:prstGeom prst="rect">
            <a:avLst/>
          </a:prstGeom>
          <a:noFill/>
          <a:ln>
            <a:noFill/>
          </a:ln>
        </p:spPr>
      </p:pic>
      <p:sp>
        <p:nvSpPr>
          <p:cNvPr id="7" name="Freeform 295"/>
          <p:cNvSpPr>
            <a:spLocks/>
          </p:cNvSpPr>
          <p:nvPr userDrawn="1"/>
        </p:nvSpPr>
        <p:spPr bwMode="auto">
          <a:xfrm>
            <a:off x="0" y="1833564"/>
            <a:ext cx="5661025" cy="8858250"/>
          </a:xfrm>
          <a:custGeom>
            <a:avLst/>
            <a:gdLst>
              <a:gd name="T0" fmla="*/ 593 w 3566"/>
              <a:gd name="T1" fmla="*/ 5580 h 5580"/>
              <a:gd name="T2" fmla="*/ 3566 w 3566"/>
              <a:gd name="T3" fmla="*/ 0 h 5580"/>
              <a:gd name="T4" fmla="*/ 0 w 3566"/>
              <a:gd name="T5" fmla="*/ 0 h 5580"/>
              <a:gd name="T6" fmla="*/ 0 w 3566"/>
              <a:gd name="T7" fmla="*/ 5580 h 5580"/>
              <a:gd name="T8" fmla="*/ 593 w 3566"/>
              <a:gd name="T9" fmla="*/ 5580 h 5580"/>
            </a:gdLst>
            <a:ahLst/>
            <a:cxnLst>
              <a:cxn ang="0">
                <a:pos x="T0" y="T1"/>
              </a:cxn>
              <a:cxn ang="0">
                <a:pos x="T2" y="T3"/>
              </a:cxn>
              <a:cxn ang="0">
                <a:pos x="T4" y="T5"/>
              </a:cxn>
              <a:cxn ang="0">
                <a:pos x="T6" y="T7"/>
              </a:cxn>
              <a:cxn ang="0">
                <a:pos x="T8" y="T9"/>
              </a:cxn>
            </a:cxnLst>
            <a:rect l="0" t="0" r="r" b="b"/>
            <a:pathLst>
              <a:path w="3566" h="5580">
                <a:moveTo>
                  <a:pt x="593" y="5580"/>
                </a:moveTo>
                <a:lnTo>
                  <a:pt x="3566" y="0"/>
                </a:lnTo>
                <a:lnTo>
                  <a:pt x="0" y="0"/>
                </a:lnTo>
                <a:lnTo>
                  <a:pt x="0" y="5580"/>
                </a:lnTo>
                <a:lnTo>
                  <a:pt x="593"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Text Placeholder 13"/>
          <p:cNvSpPr>
            <a:spLocks noGrp="1"/>
          </p:cNvSpPr>
          <p:nvPr>
            <p:ph type="body" sz="quarter" idx="11" hasCustomPrompt="1"/>
            <p:custDataLst>
              <p:tags r:id="rId3"/>
            </p:custDataLst>
          </p:nvPr>
        </p:nvSpPr>
        <p:spPr>
          <a:xfrm>
            <a:off x="687102" y="2342731"/>
            <a:ext cx="4037013" cy="2175980"/>
          </a:xfrm>
          <a:prstGeom prst="rect">
            <a:avLst/>
          </a:prstGeom>
          <a:noFill/>
        </p:spPr>
        <p:txBody>
          <a:bodyPr/>
          <a:lstStyle>
            <a:lvl1pPr>
              <a:lnSpc>
                <a:spcPct val="100000"/>
              </a:lnSpc>
              <a:spcAft>
                <a:spcPts val="600"/>
              </a:spcAft>
              <a:defRPr sz="3200" b="0" baseline="0">
                <a:solidFill>
                  <a:schemeClr val="bg1"/>
                </a:solidFill>
              </a:defRPr>
            </a:lvl1pPr>
            <a:lvl2pPr>
              <a:spcBef>
                <a:spcPts val="0"/>
              </a:spcBef>
              <a:spcAft>
                <a:spcPts val="3600"/>
              </a:spcAft>
              <a:defRPr sz="1200" b="1" baseline="0">
                <a:solidFill>
                  <a:schemeClr val="bg1"/>
                </a:solidFill>
              </a:defRPr>
            </a:lvl2pPr>
            <a:lvl3pPr marL="0" indent="0">
              <a:buNone/>
              <a:defRPr sz="1000" b="0">
                <a:solidFill>
                  <a:schemeClr val="bg1"/>
                </a:solidFill>
              </a:defRPr>
            </a:lvl3pPr>
            <a:lvl4pPr marL="0" indent="0">
              <a:buNone/>
              <a:defRPr sz="1200" b="1" baseline="0">
                <a:solidFill>
                  <a:schemeClr val="bg1"/>
                </a:solidFill>
              </a:defRPr>
            </a:lvl4pPr>
            <a:lvl5pPr>
              <a:defRPr>
                <a:solidFill>
                  <a:schemeClr val="bg1"/>
                </a:solidFill>
              </a:defRPr>
            </a:lvl5pPr>
          </a:lstStyle>
          <a:p>
            <a:pPr lvl="0"/>
            <a:r>
              <a:rPr lang="en-US" dirty="0"/>
              <a:t>Presentation title here</a:t>
            </a:r>
          </a:p>
          <a:p>
            <a:pPr lvl="1"/>
            <a:r>
              <a:rPr lang="en-US" dirty="0"/>
              <a:t>Optional date</a:t>
            </a:r>
          </a:p>
          <a:p>
            <a:pPr lvl="2"/>
            <a:r>
              <a:rPr lang="en-US" dirty="0"/>
              <a:t>Prepared for</a:t>
            </a:r>
          </a:p>
          <a:p>
            <a:pPr lvl="3"/>
            <a:r>
              <a:rPr lang="en-US" dirty="0"/>
              <a:t>Client/Company name</a:t>
            </a:r>
            <a:endParaRPr lang="en-NZ" dirty="0"/>
          </a:p>
        </p:txBody>
      </p:sp>
      <p:sp>
        <p:nvSpPr>
          <p:cNvPr id="15" name="Picture Placeholder 14"/>
          <p:cNvSpPr>
            <a:spLocks noGrp="1"/>
          </p:cNvSpPr>
          <p:nvPr>
            <p:ph type="pic" sz="quarter" idx="10" hasCustomPrompt="1"/>
            <p:custDataLst>
              <p:tags r:id="rId4"/>
            </p:custDataLst>
          </p:nvPr>
        </p:nvSpPr>
        <p:spPr>
          <a:xfrm>
            <a:off x="5393282" y="535116"/>
            <a:ext cx="1515396" cy="763333"/>
          </a:xfrm>
          <a:prstGeom prst="rect">
            <a:avLst/>
          </a:prstGeom>
        </p:spPr>
        <p:txBody>
          <a:bodyPr anchor="ctr" anchorCtr="1">
            <a:noAutofit/>
          </a:bodyPr>
          <a:lstStyle>
            <a:lvl1pPr>
              <a:defRPr>
                <a:solidFill>
                  <a:schemeClr val="tx1"/>
                </a:solidFill>
              </a:defRPr>
            </a:lvl1pPr>
          </a:lstStyle>
          <a:p>
            <a:r>
              <a:rPr lang="en-GB" dirty="0"/>
              <a:t>Client logo</a:t>
            </a: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7102" y="562209"/>
            <a:ext cx="2165429" cy="591034"/>
          </a:xfrm>
          <a:prstGeom prst="rect">
            <a:avLst/>
          </a:prstGeom>
        </p:spPr>
      </p:pic>
    </p:spTree>
    <p:extLst>
      <p:ext uri="{BB962C8B-B14F-4D97-AF65-F5344CB8AC3E}">
        <p14:creationId xmlns:p14="http://schemas.microsoft.com/office/powerpoint/2010/main" val="37649021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61457736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Picture Placeholder 18"/>
          <p:cNvSpPr>
            <a:spLocks noGrp="1"/>
          </p:cNvSpPr>
          <p:nvPr>
            <p:ph type="pic" sz="quarter" idx="12"/>
          </p:nvPr>
        </p:nvSpPr>
        <p:spPr>
          <a:xfrm>
            <a:off x="1830388" y="1829783"/>
            <a:ext cx="5737168" cy="8863617"/>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3657 h 5094454"/>
              <a:gd name="connsiteX1" fmla="*/ 3276437 w 3791709"/>
              <a:gd name="connsiteY1" fmla="*/ 0 h 5094454"/>
              <a:gd name="connsiteX2" fmla="*/ 3791709 w 3791709"/>
              <a:gd name="connsiteY2" fmla="*/ 3641 h 5094454"/>
              <a:gd name="connsiteX3" fmla="*/ 3791709 w 3791709"/>
              <a:gd name="connsiteY3" fmla="*/ 5079888 h 5094454"/>
              <a:gd name="connsiteX4" fmla="*/ 0 w 3791709"/>
              <a:gd name="connsiteY4" fmla="*/ 5094454 h 5094454"/>
              <a:gd name="connsiteX5" fmla="*/ 2678589 w 3791709"/>
              <a:gd name="connsiteY5" fmla="*/ 13657 h 5094454"/>
              <a:gd name="connsiteX0" fmla="*/ 2678589 w 3791709"/>
              <a:gd name="connsiteY0" fmla="*/ 13657 h 5094454"/>
              <a:gd name="connsiteX1" fmla="*/ 3276437 w 3791709"/>
              <a:gd name="connsiteY1" fmla="*/ 0 h 5094454"/>
              <a:gd name="connsiteX2" fmla="*/ 3791709 w 3791709"/>
              <a:gd name="connsiteY2" fmla="*/ 3641 h 5094454"/>
              <a:gd name="connsiteX3" fmla="*/ 3791709 w 3791709"/>
              <a:gd name="connsiteY3" fmla="*/ 5079888 h 5094454"/>
              <a:gd name="connsiteX4" fmla="*/ 3287361 w 3791709"/>
              <a:gd name="connsiteY4" fmla="*/ 5079888 h 5094454"/>
              <a:gd name="connsiteX5" fmla="*/ 0 w 3791709"/>
              <a:gd name="connsiteY5" fmla="*/ 5094454 h 5094454"/>
              <a:gd name="connsiteX6" fmla="*/ 2678589 w 3791709"/>
              <a:gd name="connsiteY6" fmla="*/ 13657 h 5094454"/>
              <a:gd name="connsiteX0" fmla="*/ 2678589 w 3791709"/>
              <a:gd name="connsiteY0" fmla="*/ 13657 h 5094454"/>
              <a:gd name="connsiteX1" fmla="*/ 3276437 w 3791709"/>
              <a:gd name="connsiteY1" fmla="*/ 0 h 5094454"/>
              <a:gd name="connsiteX2" fmla="*/ 3791709 w 3791709"/>
              <a:gd name="connsiteY2" fmla="*/ 3641 h 5094454"/>
              <a:gd name="connsiteX3" fmla="*/ 3287361 w 3791709"/>
              <a:gd name="connsiteY3" fmla="*/ 5079888 h 5094454"/>
              <a:gd name="connsiteX4" fmla="*/ 0 w 3791709"/>
              <a:gd name="connsiteY4" fmla="*/ 5094454 h 5094454"/>
              <a:gd name="connsiteX5" fmla="*/ 2678589 w 3791709"/>
              <a:gd name="connsiteY5" fmla="*/ 13657 h 5094454"/>
              <a:gd name="connsiteX0" fmla="*/ 2678589 w 3287361"/>
              <a:gd name="connsiteY0" fmla="*/ 13657 h 5094454"/>
              <a:gd name="connsiteX1" fmla="*/ 3276437 w 3287361"/>
              <a:gd name="connsiteY1" fmla="*/ 0 h 5094454"/>
              <a:gd name="connsiteX2" fmla="*/ 3287361 w 3287361"/>
              <a:gd name="connsiteY2" fmla="*/ 5079888 h 5094454"/>
              <a:gd name="connsiteX3" fmla="*/ 0 w 3287361"/>
              <a:gd name="connsiteY3" fmla="*/ 5094454 h 5094454"/>
              <a:gd name="connsiteX4" fmla="*/ 2678589 w 3287361"/>
              <a:gd name="connsiteY4" fmla="*/ 13657 h 5094454"/>
              <a:gd name="connsiteX0" fmla="*/ 2678589 w 3288412"/>
              <a:gd name="connsiteY0" fmla="*/ 6374 h 5087171"/>
              <a:gd name="connsiteX1" fmla="*/ 3287362 w 3288412"/>
              <a:gd name="connsiteY1" fmla="*/ 0 h 5087171"/>
              <a:gd name="connsiteX2" fmla="*/ 3287361 w 3288412"/>
              <a:gd name="connsiteY2" fmla="*/ 5072605 h 5087171"/>
              <a:gd name="connsiteX3" fmla="*/ 0 w 3288412"/>
              <a:gd name="connsiteY3" fmla="*/ 5087171 h 5087171"/>
              <a:gd name="connsiteX4" fmla="*/ 2678589 w 3288412"/>
              <a:gd name="connsiteY4" fmla="*/ 6374 h 5087171"/>
              <a:gd name="connsiteX0" fmla="*/ 2678589 w 3287361"/>
              <a:gd name="connsiteY0" fmla="*/ 1429 h 5082226"/>
              <a:gd name="connsiteX1" fmla="*/ 3281900 w 3287361"/>
              <a:gd name="connsiteY1" fmla="*/ 517 h 5082226"/>
              <a:gd name="connsiteX2" fmla="*/ 3287361 w 3287361"/>
              <a:gd name="connsiteY2" fmla="*/ 5067660 h 5082226"/>
              <a:gd name="connsiteX3" fmla="*/ 0 w 3287361"/>
              <a:gd name="connsiteY3" fmla="*/ 5082226 h 5082226"/>
              <a:gd name="connsiteX4" fmla="*/ 2678589 w 3287361"/>
              <a:gd name="connsiteY4" fmla="*/ 1429 h 5082226"/>
              <a:gd name="connsiteX0" fmla="*/ 2678589 w 3290060"/>
              <a:gd name="connsiteY0" fmla="*/ 1429 h 5082226"/>
              <a:gd name="connsiteX1" fmla="*/ 3289183 w 3290060"/>
              <a:gd name="connsiteY1" fmla="*/ 517 h 5082226"/>
              <a:gd name="connsiteX2" fmla="*/ 3287361 w 3290060"/>
              <a:gd name="connsiteY2" fmla="*/ 5067660 h 5082226"/>
              <a:gd name="connsiteX3" fmla="*/ 0 w 3290060"/>
              <a:gd name="connsiteY3" fmla="*/ 5082226 h 5082226"/>
              <a:gd name="connsiteX4" fmla="*/ 2678589 w 3290060"/>
              <a:gd name="connsiteY4" fmla="*/ 1429 h 5082226"/>
              <a:gd name="connsiteX0" fmla="*/ 2678589 w 3290060"/>
              <a:gd name="connsiteY0" fmla="*/ 2169 h 5082966"/>
              <a:gd name="connsiteX1" fmla="*/ 3289183 w 3290060"/>
              <a:gd name="connsiteY1" fmla="*/ 1257 h 5082966"/>
              <a:gd name="connsiteX2" fmla="*/ 3287361 w 3290060"/>
              <a:gd name="connsiteY2" fmla="*/ 5068400 h 5082966"/>
              <a:gd name="connsiteX3" fmla="*/ 0 w 3290060"/>
              <a:gd name="connsiteY3" fmla="*/ 5082966 h 5082966"/>
              <a:gd name="connsiteX4" fmla="*/ 2678589 w 3290060"/>
              <a:gd name="connsiteY4" fmla="*/ 2169 h 5082966"/>
              <a:gd name="connsiteX0" fmla="*/ 2678589 w 3289844"/>
              <a:gd name="connsiteY0" fmla="*/ 2169 h 5082966"/>
              <a:gd name="connsiteX1" fmla="*/ 3289183 w 3289844"/>
              <a:gd name="connsiteY1" fmla="*/ 1257 h 5082966"/>
              <a:gd name="connsiteX2" fmla="*/ 3283720 w 3289844"/>
              <a:gd name="connsiteY2" fmla="*/ 5081145 h 5082966"/>
              <a:gd name="connsiteX3" fmla="*/ 0 w 3289844"/>
              <a:gd name="connsiteY3" fmla="*/ 5082966 h 5082966"/>
              <a:gd name="connsiteX4" fmla="*/ 2678589 w 3289844"/>
              <a:gd name="connsiteY4" fmla="*/ 2169 h 5082966"/>
              <a:gd name="connsiteX0" fmla="*/ 2678589 w 3289844"/>
              <a:gd name="connsiteY0" fmla="*/ 2169 h 5082966"/>
              <a:gd name="connsiteX1" fmla="*/ 3289183 w 3289844"/>
              <a:gd name="connsiteY1" fmla="*/ 1257 h 5082966"/>
              <a:gd name="connsiteX2" fmla="*/ 3283720 w 3289844"/>
              <a:gd name="connsiteY2" fmla="*/ 5081145 h 5082966"/>
              <a:gd name="connsiteX3" fmla="*/ 0 w 3289844"/>
              <a:gd name="connsiteY3" fmla="*/ 5082966 h 5082966"/>
              <a:gd name="connsiteX4" fmla="*/ 2678589 w 3289844"/>
              <a:gd name="connsiteY4" fmla="*/ 2169 h 5082966"/>
              <a:gd name="connsiteX0" fmla="*/ 2678589 w 3290060"/>
              <a:gd name="connsiteY0" fmla="*/ 2169 h 5082966"/>
              <a:gd name="connsiteX1" fmla="*/ 3289183 w 3290060"/>
              <a:gd name="connsiteY1" fmla="*/ 1257 h 5082966"/>
              <a:gd name="connsiteX2" fmla="*/ 3287361 w 3290060"/>
              <a:gd name="connsiteY2" fmla="*/ 5081145 h 5082966"/>
              <a:gd name="connsiteX3" fmla="*/ 0 w 3290060"/>
              <a:gd name="connsiteY3" fmla="*/ 5082966 h 5082966"/>
              <a:gd name="connsiteX4" fmla="*/ 2678589 w 3290060"/>
              <a:gd name="connsiteY4" fmla="*/ 2169 h 5082966"/>
              <a:gd name="connsiteX0" fmla="*/ 2678589 w 3290060"/>
              <a:gd name="connsiteY0" fmla="*/ 2169 h 5082966"/>
              <a:gd name="connsiteX1" fmla="*/ 3289183 w 3290060"/>
              <a:gd name="connsiteY1" fmla="*/ 1257 h 5082966"/>
              <a:gd name="connsiteX2" fmla="*/ 3287361 w 3290060"/>
              <a:gd name="connsiteY2" fmla="*/ 5081145 h 5082966"/>
              <a:gd name="connsiteX3" fmla="*/ 0 w 3290060"/>
              <a:gd name="connsiteY3" fmla="*/ 5082966 h 5082966"/>
              <a:gd name="connsiteX4" fmla="*/ 2678589 w 3290060"/>
              <a:gd name="connsiteY4" fmla="*/ 2169 h 5082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0060" h="5082966">
                <a:moveTo>
                  <a:pt x="2678589" y="2169"/>
                </a:moveTo>
                <a:cubicBezTo>
                  <a:pt x="2877872" y="-2383"/>
                  <a:pt x="2983886" y="1713"/>
                  <a:pt x="3289183" y="1257"/>
                </a:cubicBezTo>
                <a:cubicBezTo>
                  <a:pt x="3292824" y="1694553"/>
                  <a:pt x="3283720" y="3387849"/>
                  <a:pt x="3287361" y="5081145"/>
                </a:cubicBezTo>
                <a:lnTo>
                  <a:pt x="0" y="5082966"/>
                </a:lnTo>
                <a:lnTo>
                  <a:pt x="2678589" y="2169"/>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6"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321292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Two">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881285995"/>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Freeform 9"/>
          <p:cNvSpPr/>
          <p:nvPr userDrawn="1"/>
        </p:nvSpPr>
        <p:spPr>
          <a:xfrm flipV="1">
            <a:off x="4168806" y="1835150"/>
            <a:ext cx="3394045" cy="4417000"/>
          </a:xfrm>
          <a:custGeom>
            <a:avLst/>
            <a:gdLst>
              <a:gd name="connsiteX0" fmla="*/ 2324070 w 3394045"/>
              <a:gd name="connsiteY0" fmla="*/ 4417000 h 4417000"/>
              <a:gd name="connsiteX1" fmla="*/ 3394045 w 3394045"/>
              <a:gd name="connsiteY1" fmla="*/ 4417000 h 4417000"/>
              <a:gd name="connsiteX2" fmla="*/ 3394045 w 3394045"/>
              <a:gd name="connsiteY2" fmla="*/ 0 h 4417000"/>
              <a:gd name="connsiteX3" fmla="*/ 0 w 3394045"/>
              <a:gd name="connsiteY3" fmla="*/ 0 h 4417000"/>
              <a:gd name="connsiteX4" fmla="*/ 2324070 w 3394045"/>
              <a:gd name="connsiteY4" fmla="*/ 4417000 h 441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045" h="4417000">
                <a:moveTo>
                  <a:pt x="2324070" y="4417000"/>
                </a:moveTo>
                <a:lnTo>
                  <a:pt x="3394045" y="4417000"/>
                </a:lnTo>
                <a:lnTo>
                  <a:pt x="3394045" y="0"/>
                </a:lnTo>
                <a:lnTo>
                  <a:pt x="0" y="0"/>
                </a:lnTo>
                <a:lnTo>
                  <a:pt x="2324070" y="4417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sp>
        <p:nvSpPr>
          <p:cNvPr id="13" name="Picture Placeholder 18"/>
          <p:cNvSpPr>
            <a:spLocks noGrp="1"/>
          </p:cNvSpPr>
          <p:nvPr>
            <p:ph type="pic" sz="quarter" idx="13" hasCustomPrompt="1"/>
          </p:nvPr>
        </p:nvSpPr>
        <p:spPr>
          <a:xfrm>
            <a:off x="1804196" y="6397164"/>
            <a:ext cx="5760525" cy="4297012"/>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0 w 3791709"/>
              <a:gd name="connsiteY4" fmla="*/ 2456189 h 2456189"/>
              <a:gd name="connsiteX5" fmla="*/ 1292731 w 3791709"/>
              <a:gd name="connsiteY5"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47085 h 2456189"/>
              <a:gd name="connsiteX5" fmla="*/ 0 w 3791709"/>
              <a:gd name="connsiteY5" fmla="*/ 2456189 h 2456189"/>
              <a:gd name="connsiteX6" fmla="*/ 1292731 w 3791709"/>
              <a:gd name="connsiteY6"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52548 h 2456189"/>
              <a:gd name="connsiteX5" fmla="*/ 0 w 3791709"/>
              <a:gd name="connsiteY5" fmla="*/ 2456189 h 2456189"/>
              <a:gd name="connsiteX6" fmla="*/ 1292731 w 3791709"/>
              <a:gd name="connsiteY6" fmla="*/ 3641 h 2456189"/>
              <a:gd name="connsiteX0" fmla="*/ 1292731 w 3801115"/>
              <a:gd name="connsiteY0" fmla="*/ 3641 h 2456189"/>
              <a:gd name="connsiteX1" fmla="*/ 3292823 w 3801115"/>
              <a:gd name="connsiteY1" fmla="*/ 0 h 2456189"/>
              <a:gd name="connsiteX2" fmla="*/ 3790798 w 3801115"/>
              <a:gd name="connsiteY2" fmla="*/ 3641 h 2456189"/>
              <a:gd name="connsiteX3" fmla="*/ 3287361 w 3801115"/>
              <a:gd name="connsiteY3" fmla="*/ 2452548 h 2456189"/>
              <a:gd name="connsiteX4" fmla="*/ 0 w 3801115"/>
              <a:gd name="connsiteY4" fmla="*/ 2456189 h 2456189"/>
              <a:gd name="connsiteX5" fmla="*/ 1292731 w 3801115"/>
              <a:gd name="connsiteY5"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3333"/>
              <a:gd name="connsiteY0" fmla="*/ 3641 h 2456632"/>
              <a:gd name="connsiteX1" fmla="*/ 3292823 w 3293333"/>
              <a:gd name="connsiteY1" fmla="*/ 0 h 2456632"/>
              <a:gd name="connsiteX2" fmla="*/ 3292806 w 3293333"/>
              <a:gd name="connsiteY2" fmla="*/ 2456632 h 2456632"/>
              <a:gd name="connsiteX3" fmla="*/ 0 w 3293333"/>
              <a:gd name="connsiteY3" fmla="*/ 2456189 h 2456632"/>
              <a:gd name="connsiteX4" fmla="*/ 1292731 w 3293333"/>
              <a:gd name="connsiteY4" fmla="*/ 3641 h 245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333" h="2456632">
                <a:moveTo>
                  <a:pt x="1292731" y="3641"/>
                </a:moveTo>
                <a:lnTo>
                  <a:pt x="3292823" y="0"/>
                </a:lnTo>
                <a:cubicBezTo>
                  <a:pt x="3291002" y="817516"/>
                  <a:pt x="3294627" y="1639116"/>
                  <a:pt x="3292806" y="2456632"/>
                </a:cubicBezTo>
                <a:lnTo>
                  <a:pt x="0" y="2456189"/>
                </a:lnTo>
                <a:lnTo>
                  <a:pt x="1292731" y="3641"/>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7"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3096062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Thre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2473783290"/>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7" name="Picture Placeholder 14"/>
          <p:cNvSpPr>
            <a:spLocks noGrp="1"/>
          </p:cNvSpPr>
          <p:nvPr>
            <p:ph type="pic" sz="quarter" idx="18"/>
            <p:custDataLst>
              <p:tags r:id="rId3"/>
            </p:custDataLst>
          </p:nvPr>
        </p:nvSpPr>
        <p:spPr>
          <a:xfrm>
            <a:off x="4179237" y="1813211"/>
            <a:ext cx="3393137" cy="4442446"/>
          </a:xfrm>
          <a:custGeom>
            <a:avLst/>
            <a:gdLst>
              <a:gd name="connsiteX0" fmla="*/ 0 w 5600700"/>
              <a:gd name="connsiteY0" fmla="*/ 6127560 h 6128669"/>
              <a:gd name="connsiteX1" fmla="*/ 2109 w 5600700"/>
              <a:gd name="connsiteY1" fmla="*/ 6128669 h 6128669"/>
              <a:gd name="connsiteX2" fmla="*/ 0 w 5600700"/>
              <a:gd name="connsiteY2" fmla="*/ 6128669 h 6128669"/>
              <a:gd name="connsiteX3" fmla="*/ 3229524 w 5600700"/>
              <a:gd name="connsiteY3" fmla="*/ 0 h 6128669"/>
              <a:gd name="connsiteX4" fmla="*/ 5600700 w 5600700"/>
              <a:gd name="connsiteY4" fmla="*/ 0 h 6128669"/>
              <a:gd name="connsiteX5" fmla="*/ 5600700 w 5600700"/>
              <a:gd name="connsiteY5" fmla="*/ 6128669 h 6128669"/>
              <a:gd name="connsiteX6" fmla="*/ 2109 w 5600700"/>
              <a:gd name="connsiteY6" fmla="*/ 6128669 h 6128669"/>
              <a:gd name="connsiteX0" fmla="*/ 188391 w 5789091"/>
              <a:gd name="connsiteY0" fmla="*/ 6127560 h 6142896"/>
              <a:gd name="connsiteX1" fmla="*/ 190500 w 5789091"/>
              <a:gd name="connsiteY1" fmla="*/ 6128669 h 6142896"/>
              <a:gd name="connsiteX2" fmla="*/ 188391 w 5789091"/>
              <a:gd name="connsiteY2" fmla="*/ 6128669 h 6142896"/>
              <a:gd name="connsiteX3" fmla="*/ 188391 w 5789091"/>
              <a:gd name="connsiteY3" fmla="*/ 6127560 h 6142896"/>
              <a:gd name="connsiteX4" fmla="*/ 3417915 w 5789091"/>
              <a:gd name="connsiteY4" fmla="*/ 0 h 6142896"/>
              <a:gd name="connsiteX5" fmla="*/ 5789091 w 5789091"/>
              <a:gd name="connsiteY5" fmla="*/ 0 h 6142896"/>
              <a:gd name="connsiteX6" fmla="*/ 5789091 w 5789091"/>
              <a:gd name="connsiteY6" fmla="*/ 6128669 h 6142896"/>
              <a:gd name="connsiteX7" fmla="*/ 0 w 5789091"/>
              <a:gd name="connsiteY7" fmla="*/ 6142896 h 6142896"/>
              <a:gd name="connsiteX8" fmla="*/ 3417915 w 5789091"/>
              <a:gd name="connsiteY8" fmla="*/ 0 h 6142896"/>
              <a:gd name="connsiteX0" fmla="*/ 188391 w 5789091"/>
              <a:gd name="connsiteY0" fmla="*/ 6128669 h 6142896"/>
              <a:gd name="connsiteX1" fmla="*/ 190500 w 5789091"/>
              <a:gd name="connsiteY1" fmla="*/ 6128669 h 6142896"/>
              <a:gd name="connsiteX2" fmla="*/ 188391 w 5789091"/>
              <a:gd name="connsiteY2" fmla="*/ 6128669 h 6142896"/>
              <a:gd name="connsiteX3" fmla="*/ 3417915 w 5789091"/>
              <a:gd name="connsiteY3" fmla="*/ 0 h 6142896"/>
              <a:gd name="connsiteX4" fmla="*/ 5789091 w 5789091"/>
              <a:gd name="connsiteY4" fmla="*/ 0 h 6142896"/>
              <a:gd name="connsiteX5" fmla="*/ 5789091 w 5789091"/>
              <a:gd name="connsiteY5" fmla="*/ 6128669 h 6142896"/>
              <a:gd name="connsiteX6" fmla="*/ 0 w 5789091"/>
              <a:gd name="connsiteY6" fmla="*/ 6142896 h 6142896"/>
              <a:gd name="connsiteX7" fmla="*/ 3417915 w 5789091"/>
              <a:gd name="connsiteY7" fmla="*/ 0 h 6142896"/>
              <a:gd name="connsiteX0" fmla="*/ 3417915 w 5789091"/>
              <a:gd name="connsiteY0" fmla="*/ 0 h 6142896"/>
              <a:gd name="connsiteX1" fmla="*/ 5789091 w 5789091"/>
              <a:gd name="connsiteY1" fmla="*/ 0 h 6142896"/>
              <a:gd name="connsiteX2" fmla="*/ 5789091 w 5789091"/>
              <a:gd name="connsiteY2" fmla="*/ 6128669 h 6142896"/>
              <a:gd name="connsiteX3" fmla="*/ 0 w 5789091"/>
              <a:gd name="connsiteY3" fmla="*/ 6142896 h 6142896"/>
              <a:gd name="connsiteX4" fmla="*/ 3417915 w 5789091"/>
              <a:gd name="connsiteY4" fmla="*/ 0 h 6142896"/>
              <a:gd name="connsiteX0" fmla="*/ 3242655 w 5613831"/>
              <a:gd name="connsiteY0" fmla="*/ 0 h 6128669"/>
              <a:gd name="connsiteX1" fmla="*/ 5613831 w 5613831"/>
              <a:gd name="connsiteY1" fmla="*/ 0 h 6128669"/>
              <a:gd name="connsiteX2" fmla="*/ 5613831 w 5613831"/>
              <a:gd name="connsiteY2" fmla="*/ 6128669 h 6128669"/>
              <a:gd name="connsiteX3" fmla="*/ 0 w 5613831"/>
              <a:gd name="connsiteY3" fmla="*/ 6085992 h 6128669"/>
              <a:gd name="connsiteX4" fmla="*/ 3242655 w 5613831"/>
              <a:gd name="connsiteY4" fmla="*/ 0 h 6128669"/>
              <a:gd name="connsiteX0" fmla="*/ 3402675 w 5773851"/>
              <a:gd name="connsiteY0" fmla="*/ 0 h 6128670"/>
              <a:gd name="connsiteX1" fmla="*/ 5773851 w 5773851"/>
              <a:gd name="connsiteY1" fmla="*/ 0 h 6128670"/>
              <a:gd name="connsiteX2" fmla="*/ 5773851 w 5773851"/>
              <a:gd name="connsiteY2" fmla="*/ 6128669 h 6128670"/>
              <a:gd name="connsiteX3" fmla="*/ 0 w 5773851"/>
              <a:gd name="connsiteY3" fmla="*/ 6128670 h 6128670"/>
              <a:gd name="connsiteX4" fmla="*/ 3402675 w 5773851"/>
              <a:gd name="connsiteY4" fmla="*/ 0 h 6128670"/>
              <a:gd name="connsiteX0" fmla="*/ 3455062 w 5826238"/>
              <a:gd name="connsiteY0" fmla="*/ 0 h 6133115"/>
              <a:gd name="connsiteX1" fmla="*/ 5826238 w 5826238"/>
              <a:gd name="connsiteY1" fmla="*/ 0 h 6133115"/>
              <a:gd name="connsiteX2" fmla="*/ 5826238 w 5826238"/>
              <a:gd name="connsiteY2" fmla="*/ 6128669 h 6133115"/>
              <a:gd name="connsiteX3" fmla="*/ 0 w 5826238"/>
              <a:gd name="connsiteY3" fmla="*/ 6133115 h 6133115"/>
              <a:gd name="connsiteX4" fmla="*/ 3455062 w 5826238"/>
              <a:gd name="connsiteY4" fmla="*/ 0 h 6133115"/>
              <a:gd name="connsiteX0" fmla="*/ 3455062 w 5826238"/>
              <a:gd name="connsiteY0" fmla="*/ 0 h 6133115"/>
              <a:gd name="connsiteX1" fmla="*/ 5826238 w 5826238"/>
              <a:gd name="connsiteY1" fmla="*/ 0 h 6133115"/>
              <a:gd name="connsiteX2" fmla="*/ 5826238 w 5826238"/>
              <a:gd name="connsiteY2" fmla="*/ 6128669 h 6133115"/>
              <a:gd name="connsiteX3" fmla="*/ 0 w 5826238"/>
              <a:gd name="connsiteY3" fmla="*/ 6133115 h 6133115"/>
              <a:gd name="connsiteX4" fmla="*/ 3455062 w 5826238"/>
              <a:gd name="connsiteY4" fmla="*/ 0 h 6133115"/>
              <a:gd name="connsiteX0" fmla="*/ 2686712 w 5057888"/>
              <a:gd name="connsiteY0" fmla="*/ 0 h 6128669"/>
              <a:gd name="connsiteX1" fmla="*/ 5057888 w 5057888"/>
              <a:gd name="connsiteY1" fmla="*/ 0 h 6128669"/>
              <a:gd name="connsiteX2" fmla="*/ 5057888 w 5057888"/>
              <a:gd name="connsiteY2" fmla="*/ 6128669 h 6128669"/>
              <a:gd name="connsiteX3" fmla="*/ 0 w 5057888"/>
              <a:gd name="connsiteY3" fmla="*/ 5818959 h 6128669"/>
              <a:gd name="connsiteX4" fmla="*/ 2686712 w 5057888"/>
              <a:gd name="connsiteY4" fmla="*/ 0 h 6128669"/>
              <a:gd name="connsiteX0" fmla="*/ 3448712 w 5819888"/>
              <a:gd name="connsiteY0" fmla="*/ 0 h 6139043"/>
              <a:gd name="connsiteX1" fmla="*/ 5819888 w 5819888"/>
              <a:gd name="connsiteY1" fmla="*/ 0 h 6139043"/>
              <a:gd name="connsiteX2" fmla="*/ 5819888 w 5819888"/>
              <a:gd name="connsiteY2" fmla="*/ 6128669 h 6139043"/>
              <a:gd name="connsiteX3" fmla="*/ 0 w 5819888"/>
              <a:gd name="connsiteY3" fmla="*/ 6139043 h 6139043"/>
              <a:gd name="connsiteX4" fmla="*/ 3448712 w 5819888"/>
              <a:gd name="connsiteY4" fmla="*/ 0 h 6139043"/>
              <a:gd name="connsiteX0" fmla="*/ 2870185 w 5819888"/>
              <a:gd name="connsiteY0" fmla="*/ 0 h 6152671"/>
              <a:gd name="connsiteX1" fmla="*/ 5819888 w 5819888"/>
              <a:gd name="connsiteY1" fmla="*/ 13628 h 6152671"/>
              <a:gd name="connsiteX2" fmla="*/ 5819888 w 5819888"/>
              <a:gd name="connsiteY2" fmla="*/ 6142297 h 6152671"/>
              <a:gd name="connsiteX3" fmla="*/ 0 w 5819888"/>
              <a:gd name="connsiteY3" fmla="*/ 6152671 h 6152671"/>
              <a:gd name="connsiteX4" fmla="*/ 2870185 w 5819888"/>
              <a:gd name="connsiteY4" fmla="*/ 0 h 6152671"/>
              <a:gd name="connsiteX0" fmla="*/ 2870185 w 5819888"/>
              <a:gd name="connsiteY0" fmla="*/ 27252 h 6139043"/>
              <a:gd name="connsiteX1" fmla="*/ 5819888 w 5819888"/>
              <a:gd name="connsiteY1" fmla="*/ 0 h 6139043"/>
              <a:gd name="connsiteX2" fmla="*/ 5819888 w 5819888"/>
              <a:gd name="connsiteY2" fmla="*/ 6128669 h 6139043"/>
              <a:gd name="connsiteX3" fmla="*/ 0 w 5819888"/>
              <a:gd name="connsiteY3" fmla="*/ 6139043 h 6139043"/>
              <a:gd name="connsiteX4" fmla="*/ 2870185 w 5819888"/>
              <a:gd name="connsiteY4" fmla="*/ 27252 h 6139043"/>
              <a:gd name="connsiteX0" fmla="*/ 2870185 w 5819888"/>
              <a:gd name="connsiteY0" fmla="*/ 27252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3 w 5819888"/>
              <a:gd name="connsiteY4" fmla="*/ 9081 h 6139043"/>
              <a:gd name="connsiteX5" fmla="*/ 2870185 w 5819888"/>
              <a:gd name="connsiteY5" fmla="*/ 27252 h 6139043"/>
              <a:gd name="connsiteX0" fmla="*/ 2858953 w 5819888"/>
              <a:gd name="connsiteY0" fmla="*/ 9081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3 w 5819888"/>
              <a:gd name="connsiteY4" fmla="*/ 9081 h 6139043"/>
              <a:gd name="connsiteX0" fmla="*/ 2871005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71005 w 5819888"/>
              <a:gd name="connsiteY4" fmla="*/ 2269 h 6139043"/>
              <a:gd name="connsiteX0" fmla="*/ 2858951 w 5819888"/>
              <a:gd name="connsiteY0" fmla="*/ 36334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1 w 5819888"/>
              <a:gd name="connsiteY4" fmla="*/ 36334 h 6139043"/>
              <a:gd name="connsiteX0" fmla="*/ 2871005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71005 w 5819888"/>
              <a:gd name="connsiteY4" fmla="*/ 2269 h 6139043"/>
              <a:gd name="connsiteX0" fmla="*/ 2858951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1 w 5819888"/>
              <a:gd name="connsiteY4" fmla="*/ 2269 h 6139043"/>
              <a:gd name="connsiteX0" fmla="*/ 2858951 w 5819888"/>
              <a:gd name="connsiteY0" fmla="*/ 2269 h 6165005"/>
              <a:gd name="connsiteX1" fmla="*/ 5819888 w 5819888"/>
              <a:gd name="connsiteY1" fmla="*/ 0 h 6165005"/>
              <a:gd name="connsiteX2" fmla="*/ 5819888 w 5819888"/>
              <a:gd name="connsiteY2" fmla="*/ 6165005 h 6165005"/>
              <a:gd name="connsiteX3" fmla="*/ 0 w 5819888"/>
              <a:gd name="connsiteY3" fmla="*/ 6139043 h 6165005"/>
              <a:gd name="connsiteX4" fmla="*/ 2858951 w 5819888"/>
              <a:gd name="connsiteY4" fmla="*/ 2269 h 6165005"/>
              <a:gd name="connsiteX0" fmla="*/ 2858951 w 5819888"/>
              <a:gd name="connsiteY0" fmla="*/ 2269 h 6139043"/>
              <a:gd name="connsiteX1" fmla="*/ 5819888 w 5819888"/>
              <a:gd name="connsiteY1" fmla="*/ 0 h 6139043"/>
              <a:gd name="connsiteX2" fmla="*/ 5819888 w 5819888"/>
              <a:gd name="connsiteY2" fmla="*/ 6137752 h 6139043"/>
              <a:gd name="connsiteX3" fmla="*/ 0 w 5819888"/>
              <a:gd name="connsiteY3" fmla="*/ 6139043 h 6139043"/>
              <a:gd name="connsiteX4" fmla="*/ 2858951 w 5819888"/>
              <a:gd name="connsiteY4" fmla="*/ 2269 h 6139043"/>
              <a:gd name="connsiteX0" fmla="*/ 2858951 w 5819888"/>
              <a:gd name="connsiteY0" fmla="*/ 2269 h 6139043"/>
              <a:gd name="connsiteX1" fmla="*/ 5210746 w 5819888"/>
              <a:gd name="connsiteY1" fmla="*/ 5235 h 6139043"/>
              <a:gd name="connsiteX2" fmla="*/ 5819888 w 5819888"/>
              <a:gd name="connsiteY2" fmla="*/ 0 h 6139043"/>
              <a:gd name="connsiteX3" fmla="*/ 5819888 w 5819888"/>
              <a:gd name="connsiteY3" fmla="*/ 6137752 h 6139043"/>
              <a:gd name="connsiteX4" fmla="*/ 0 w 5819888"/>
              <a:gd name="connsiteY4" fmla="*/ 6139043 h 6139043"/>
              <a:gd name="connsiteX5" fmla="*/ 2858951 w 5819888"/>
              <a:gd name="connsiteY5" fmla="*/ 2269 h 6139043"/>
              <a:gd name="connsiteX0" fmla="*/ 2858951 w 5819888"/>
              <a:gd name="connsiteY0" fmla="*/ 2269 h 6147445"/>
              <a:gd name="connsiteX1" fmla="*/ 5210746 w 5819888"/>
              <a:gd name="connsiteY1" fmla="*/ 5235 h 6147445"/>
              <a:gd name="connsiteX2" fmla="*/ 5819888 w 5819888"/>
              <a:gd name="connsiteY2" fmla="*/ 0 h 6147445"/>
              <a:gd name="connsiteX3" fmla="*/ 5819888 w 5819888"/>
              <a:gd name="connsiteY3" fmla="*/ 6137752 h 6147445"/>
              <a:gd name="connsiteX4" fmla="*/ 5243673 w 5819888"/>
              <a:gd name="connsiteY4" fmla="*/ 6147445 h 6147445"/>
              <a:gd name="connsiteX5" fmla="*/ 0 w 5819888"/>
              <a:gd name="connsiteY5" fmla="*/ 6139043 h 6147445"/>
              <a:gd name="connsiteX6" fmla="*/ 2858951 w 5819888"/>
              <a:gd name="connsiteY6" fmla="*/ 2269 h 6147445"/>
              <a:gd name="connsiteX0" fmla="*/ 2858951 w 5819888"/>
              <a:gd name="connsiteY0" fmla="*/ 2269 h 6147445"/>
              <a:gd name="connsiteX1" fmla="*/ 5210746 w 5819888"/>
              <a:gd name="connsiteY1" fmla="*/ 5235 h 6147445"/>
              <a:gd name="connsiteX2" fmla="*/ 5819888 w 5819888"/>
              <a:gd name="connsiteY2" fmla="*/ 0 h 6147445"/>
              <a:gd name="connsiteX3" fmla="*/ 5243673 w 5819888"/>
              <a:gd name="connsiteY3" fmla="*/ 6147445 h 6147445"/>
              <a:gd name="connsiteX4" fmla="*/ 0 w 5819888"/>
              <a:gd name="connsiteY4" fmla="*/ 6139043 h 6147445"/>
              <a:gd name="connsiteX5" fmla="*/ 2858951 w 5819888"/>
              <a:gd name="connsiteY5" fmla="*/ 2269 h 6147445"/>
              <a:gd name="connsiteX0" fmla="*/ 2858951 w 5243673"/>
              <a:gd name="connsiteY0" fmla="*/ 0 h 6145176"/>
              <a:gd name="connsiteX1" fmla="*/ 5210746 w 5243673"/>
              <a:gd name="connsiteY1" fmla="*/ 2966 h 6145176"/>
              <a:gd name="connsiteX2" fmla="*/ 5243673 w 5243673"/>
              <a:gd name="connsiteY2" fmla="*/ 6145176 h 6145176"/>
              <a:gd name="connsiteX3" fmla="*/ 0 w 5243673"/>
              <a:gd name="connsiteY3" fmla="*/ 6136774 h 6145176"/>
              <a:gd name="connsiteX4" fmla="*/ 2858951 w 5243673"/>
              <a:gd name="connsiteY4" fmla="*/ 0 h 6145176"/>
              <a:gd name="connsiteX0" fmla="*/ 2858951 w 5249618"/>
              <a:gd name="connsiteY0" fmla="*/ 0 h 6145176"/>
              <a:gd name="connsiteX1" fmla="*/ 5249618 w 5249618"/>
              <a:gd name="connsiteY1" fmla="*/ 11756 h 6145176"/>
              <a:gd name="connsiteX2" fmla="*/ 5243673 w 5249618"/>
              <a:gd name="connsiteY2" fmla="*/ 6145176 h 6145176"/>
              <a:gd name="connsiteX3" fmla="*/ 0 w 5249618"/>
              <a:gd name="connsiteY3" fmla="*/ 6136774 h 6145176"/>
              <a:gd name="connsiteX4" fmla="*/ 2858951 w 5249618"/>
              <a:gd name="connsiteY4" fmla="*/ 0 h 6145176"/>
              <a:gd name="connsiteX0" fmla="*/ 2858951 w 5249618"/>
              <a:gd name="connsiteY0" fmla="*/ 0 h 6145176"/>
              <a:gd name="connsiteX1" fmla="*/ 4154233 w 5249618"/>
              <a:gd name="connsiteY1" fmla="*/ 1488 h 6145176"/>
              <a:gd name="connsiteX2" fmla="*/ 5249618 w 5249618"/>
              <a:gd name="connsiteY2" fmla="*/ 11756 h 6145176"/>
              <a:gd name="connsiteX3" fmla="*/ 5243673 w 5249618"/>
              <a:gd name="connsiteY3" fmla="*/ 6145176 h 6145176"/>
              <a:gd name="connsiteX4" fmla="*/ 0 w 5249618"/>
              <a:gd name="connsiteY4" fmla="*/ 6136774 h 6145176"/>
              <a:gd name="connsiteX5" fmla="*/ 2858951 w 5249618"/>
              <a:gd name="connsiteY5" fmla="*/ 0 h 6145176"/>
              <a:gd name="connsiteX0" fmla="*/ 2858951 w 5249618"/>
              <a:gd name="connsiteY0" fmla="*/ 0 h 6149016"/>
              <a:gd name="connsiteX1" fmla="*/ 4154233 w 5249618"/>
              <a:gd name="connsiteY1" fmla="*/ 1488 h 6149016"/>
              <a:gd name="connsiteX2" fmla="*/ 5249618 w 5249618"/>
              <a:gd name="connsiteY2" fmla="*/ 11756 h 6149016"/>
              <a:gd name="connsiteX3" fmla="*/ 5243673 w 5249618"/>
              <a:gd name="connsiteY3" fmla="*/ 6145176 h 6149016"/>
              <a:gd name="connsiteX4" fmla="*/ 4136463 w 5249618"/>
              <a:gd name="connsiteY4" fmla="*/ 6149016 h 6149016"/>
              <a:gd name="connsiteX5" fmla="*/ 0 w 5249618"/>
              <a:gd name="connsiteY5" fmla="*/ 6136774 h 6149016"/>
              <a:gd name="connsiteX6" fmla="*/ 2858951 w 5249618"/>
              <a:gd name="connsiteY6" fmla="*/ 0 h 6149016"/>
              <a:gd name="connsiteX0" fmla="*/ 2858951 w 5243673"/>
              <a:gd name="connsiteY0" fmla="*/ 0 h 6149016"/>
              <a:gd name="connsiteX1" fmla="*/ 4154233 w 5243673"/>
              <a:gd name="connsiteY1" fmla="*/ 1488 h 6149016"/>
              <a:gd name="connsiteX2" fmla="*/ 5243673 w 5243673"/>
              <a:gd name="connsiteY2" fmla="*/ 6145176 h 6149016"/>
              <a:gd name="connsiteX3" fmla="*/ 4136463 w 5243673"/>
              <a:gd name="connsiteY3" fmla="*/ 6149016 h 6149016"/>
              <a:gd name="connsiteX4" fmla="*/ 0 w 5243673"/>
              <a:gd name="connsiteY4" fmla="*/ 6136774 h 6149016"/>
              <a:gd name="connsiteX5" fmla="*/ 2858951 w 5243673"/>
              <a:gd name="connsiteY5" fmla="*/ 0 h 6149016"/>
              <a:gd name="connsiteX0" fmla="*/ 2858951 w 4154233"/>
              <a:gd name="connsiteY0" fmla="*/ 0 h 6149016"/>
              <a:gd name="connsiteX1" fmla="*/ 4154233 w 4154233"/>
              <a:gd name="connsiteY1" fmla="*/ 1488 h 6149016"/>
              <a:gd name="connsiteX2" fmla="*/ 4136463 w 4154233"/>
              <a:gd name="connsiteY2" fmla="*/ 6149016 h 6149016"/>
              <a:gd name="connsiteX3" fmla="*/ 0 w 4154233"/>
              <a:gd name="connsiteY3" fmla="*/ 6136774 h 6149016"/>
              <a:gd name="connsiteX4" fmla="*/ 2858951 w 4154233"/>
              <a:gd name="connsiteY4" fmla="*/ 0 h 6149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4233" h="6149016">
                <a:moveTo>
                  <a:pt x="2858951" y="0"/>
                </a:moveTo>
                <a:lnTo>
                  <a:pt x="4154233" y="1488"/>
                </a:lnTo>
                <a:cubicBezTo>
                  <a:pt x="4148310" y="2050664"/>
                  <a:pt x="4142386" y="4099840"/>
                  <a:pt x="4136463" y="6149016"/>
                </a:cubicBezTo>
                <a:lnTo>
                  <a:pt x="0" y="6136774"/>
                </a:lnTo>
                <a:lnTo>
                  <a:pt x="2858951" y="0"/>
                </a:lnTo>
                <a:close/>
              </a:path>
            </a:pathLst>
          </a:custGeom>
          <a:solidFill>
            <a:schemeClr val="bg1">
              <a:lumMod val="95000"/>
            </a:schemeClr>
          </a:solidFill>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8" name="Picture Placeholder 18"/>
          <p:cNvSpPr>
            <a:spLocks noGrp="1"/>
          </p:cNvSpPr>
          <p:nvPr>
            <p:ph type="pic" sz="quarter" idx="13"/>
          </p:nvPr>
        </p:nvSpPr>
        <p:spPr>
          <a:xfrm>
            <a:off x="1804196" y="6397164"/>
            <a:ext cx="5760525" cy="4297012"/>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0 w 3791709"/>
              <a:gd name="connsiteY4" fmla="*/ 2456189 h 2456189"/>
              <a:gd name="connsiteX5" fmla="*/ 1292731 w 3791709"/>
              <a:gd name="connsiteY5"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47085 h 2456189"/>
              <a:gd name="connsiteX5" fmla="*/ 0 w 3791709"/>
              <a:gd name="connsiteY5" fmla="*/ 2456189 h 2456189"/>
              <a:gd name="connsiteX6" fmla="*/ 1292731 w 3791709"/>
              <a:gd name="connsiteY6"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52548 h 2456189"/>
              <a:gd name="connsiteX5" fmla="*/ 0 w 3791709"/>
              <a:gd name="connsiteY5" fmla="*/ 2456189 h 2456189"/>
              <a:gd name="connsiteX6" fmla="*/ 1292731 w 3791709"/>
              <a:gd name="connsiteY6" fmla="*/ 3641 h 2456189"/>
              <a:gd name="connsiteX0" fmla="*/ 1292731 w 3801115"/>
              <a:gd name="connsiteY0" fmla="*/ 3641 h 2456189"/>
              <a:gd name="connsiteX1" fmla="*/ 3292823 w 3801115"/>
              <a:gd name="connsiteY1" fmla="*/ 0 h 2456189"/>
              <a:gd name="connsiteX2" fmla="*/ 3790798 w 3801115"/>
              <a:gd name="connsiteY2" fmla="*/ 3641 h 2456189"/>
              <a:gd name="connsiteX3" fmla="*/ 3287361 w 3801115"/>
              <a:gd name="connsiteY3" fmla="*/ 2452548 h 2456189"/>
              <a:gd name="connsiteX4" fmla="*/ 0 w 3801115"/>
              <a:gd name="connsiteY4" fmla="*/ 2456189 h 2456189"/>
              <a:gd name="connsiteX5" fmla="*/ 1292731 w 3801115"/>
              <a:gd name="connsiteY5"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3333"/>
              <a:gd name="connsiteY0" fmla="*/ 3641 h 2456632"/>
              <a:gd name="connsiteX1" fmla="*/ 3292823 w 3293333"/>
              <a:gd name="connsiteY1" fmla="*/ 0 h 2456632"/>
              <a:gd name="connsiteX2" fmla="*/ 3292806 w 3293333"/>
              <a:gd name="connsiteY2" fmla="*/ 2456632 h 2456632"/>
              <a:gd name="connsiteX3" fmla="*/ 0 w 3293333"/>
              <a:gd name="connsiteY3" fmla="*/ 2456189 h 2456632"/>
              <a:gd name="connsiteX4" fmla="*/ 1292731 w 3293333"/>
              <a:gd name="connsiteY4" fmla="*/ 3641 h 245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333" h="2456632">
                <a:moveTo>
                  <a:pt x="1292731" y="3641"/>
                </a:moveTo>
                <a:lnTo>
                  <a:pt x="3292823" y="0"/>
                </a:lnTo>
                <a:cubicBezTo>
                  <a:pt x="3291002" y="817516"/>
                  <a:pt x="3294627" y="1639116"/>
                  <a:pt x="3292806" y="2456632"/>
                </a:cubicBezTo>
                <a:lnTo>
                  <a:pt x="0" y="2456189"/>
                </a:lnTo>
                <a:lnTo>
                  <a:pt x="1292731" y="3641"/>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9" name="Text Placeholder 9"/>
          <p:cNvSpPr>
            <a:spLocks noGrp="1"/>
          </p:cNvSpPr>
          <p:nvPr>
            <p:ph type="body" sz="quarter" idx="14" hasCustomPrompt="1"/>
            <p:custDataLst>
              <p:tags r:id="rId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80807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Text Boxes and Icon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48968708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0" y="0"/>
                        <a:ext cx="112252" cy="224510"/>
                      </a:xfrm>
                      <a:prstGeom prst="rect">
                        <a:avLst/>
                      </a:prstGeom>
                    </p:spPr>
                  </p:pic>
                </p:oleObj>
              </mc:Fallback>
            </mc:AlternateContent>
          </a:graphicData>
        </a:graphic>
      </p:graphicFrame>
      <p:sp>
        <p:nvSpPr>
          <p:cNvPr id="14" name="Text Placeholder 4"/>
          <p:cNvSpPr>
            <a:spLocks noGrp="1"/>
          </p:cNvSpPr>
          <p:nvPr>
            <p:ph type="body" sz="quarter" idx="11"/>
            <p:custDataLst>
              <p:tags r:id="rId2"/>
            </p:custDataLst>
          </p:nvPr>
        </p:nvSpPr>
        <p:spPr>
          <a:xfrm>
            <a:off x="687820" y="2770190"/>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3"/>
          <p:cNvSpPr>
            <a:spLocks noGrp="1"/>
          </p:cNvSpPr>
          <p:nvPr>
            <p:ph type="pic" sz="quarter" idx="17" hasCustomPrompt="1"/>
            <p:custDataLst>
              <p:tags r:id="rId3"/>
            </p:custDataLst>
          </p:nvPr>
        </p:nvSpPr>
        <p:spPr>
          <a:xfrm>
            <a:off x="716803" y="1817688"/>
            <a:ext cx="734400" cy="734400"/>
          </a:xfrm>
          <a:prstGeom prst="ellipse">
            <a:avLst/>
          </a:prstGeom>
        </p:spPr>
        <p:txBody>
          <a:bodyPr anchor="ctr" anchorCtr="1">
            <a:noAutofit/>
          </a:bodyPr>
          <a:lstStyle>
            <a:lvl1pPr>
              <a:defRPr/>
            </a:lvl1pPr>
          </a:lstStyle>
          <a:p>
            <a:r>
              <a:rPr lang="en-NZ" dirty="0"/>
              <a:t>ICON</a:t>
            </a:r>
          </a:p>
        </p:txBody>
      </p:sp>
      <p:sp>
        <p:nvSpPr>
          <p:cNvPr id="16" name="Text Placeholder 4"/>
          <p:cNvSpPr>
            <a:spLocks noGrp="1"/>
          </p:cNvSpPr>
          <p:nvPr>
            <p:ph type="body" sz="quarter" idx="25"/>
            <p:custDataLst>
              <p:tags r:id="rId4"/>
            </p:custDataLst>
          </p:nvPr>
        </p:nvSpPr>
        <p:spPr>
          <a:xfrm>
            <a:off x="3883450" y="2770190"/>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icture Placeholder 3"/>
          <p:cNvSpPr>
            <a:spLocks noGrp="1"/>
          </p:cNvSpPr>
          <p:nvPr>
            <p:ph type="pic" sz="quarter" idx="26" hasCustomPrompt="1"/>
            <p:custDataLst>
              <p:tags r:id="rId5"/>
            </p:custDataLst>
          </p:nvPr>
        </p:nvSpPr>
        <p:spPr>
          <a:xfrm>
            <a:off x="3883450" y="1817688"/>
            <a:ext cx="734400" cy="734400"/>
          </a:xfrm>
          <a:prstGeom prst="ellipse">
            <a:avLst/>
          </a:prstGeom>
        </p:spPr>
        <p:txBody>
          <a:bodyPr anchor="ctr" anchorCtr="1">
            <a:noAutofit/>
          </a:bodyPr>
          <a:lstStyle>
            <a:lvl1pPr>
              <a:defRPr/>
            </a:lvl1pPr>
          </a:lstStyle>
          <a:p>
            <a:r>
              <a:rPr lang="en-NZ" dirty="0"/>
              <a:t>ICON</a:t>
            </a:r>
          </a:p>
        </p:txBody>
      </p:sp>
      <p:sp>
        <p:nvSpPr>
          <p:cNvPr id="20" name="Text Placeholder 4"/>
          <p:cNvSpPr>
            <a:spLocks noGrp="1"/>
          </p:cNvSpPr>
          <p:nvPr>
            <p:ph type="body" sz="quarter" idx="27"/>
            <p:custDataLst>
              <p:tags r:id="rId6"/>
            </p:custDataLst>
          </p:nvPr>
        </p:nvSpPr>
        <p:spPr>
          <a:xfrm>
            <a:off x="687820" y="6751642"/>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Picture Placeholder 3"/>
          <p:cNvSpPr>
            <a:spLocks noGrp="1"/>
          </p:cNvSpPr>
          <p:nvPr>
            <p:ph type="pic" sz="quarter" idx="28" hasCustomPrompt="1"/>
            <p:custDataLst>
              <p:tags r:id="rId7"/>
            </p:custDataLst>
          </p:nvPr>
        </p:nvSpPr>
        <p:spPr>
          <a:xfrm>
            <a:off x="716803" y="5799140"/>
            <a:ext cx="734400" cy="734400"/>
          </a:xfrm>
          <a:prstGeom prst="ellipse">
            <a:avLst/>
          </a:prstGeom>
        </p:spPr>
        <p:txBody>
          <a:bodyPr anchor="ctr" anchorCtr="1">
            <a:noAutofit/>
          </a:bodyPr>
          <a:lstStyle>
            <a:lvl1pPr>
              <a:defRPr/>
            </a:lvl1pPr>
          </a:lstStyle>
          <a:p>
            <a:r>
              <a:rPr lang="en-NZ" dirty="0"/>
              <a:t>ICON</a:t>
            </a:r>
          </a:p>
        </p:txBody>
      </p:sp>
      <p:sp>
        <p:nvSpPr>
          <p:cNvPr id="22" name="Text Placeholder 4"/>
          <p:cNvSpPr>
            <a:spLocks noGrp="1"/>
          </p:cNvSpPr>
          <p:nvPr>
            <p:ph type="body" sz="quarter" idx="29"/>
            <p:custDataLst>
              <p:tags r:id="rId8"/>
            </p:custDataLst>
          </p:nvPr>
        </p:nvSpPr>
        <p:spPr>
          <a:xfrm>
            <a:off x="3883450" y="6751642"/>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Picture Placeholder 3"/>
          <p:cNvSpPr>
            <a:spLocks noGrp="1"/>
          </p:cNvSpPr>
          <p:nvPr>
            <p:ph type="pic" sz="quarter" idx="30" hasCustomPrompt="1"/>
            <p:custDataLst>
              <p:tags r:id="rId9"/>
            </p:custDataLst>
          </p:nvPr>
        </p:nvSpPr>
        <p:spPr>
          <a:xfrm>
            <a:off x="3883450" y="5799140"/>
            <a:ext cx="734400" cy="734400"/>
          </a:xfrm>
          <a:prstGeom prst="ellipse">
            <a:avLst/>
          </a:prstGeom>
        </p:spPr>
        <p:txBody>
          <a:bodyPr anchor="ctr" anchorCtr="1">
            <a:noAutofit/>
          </a:bodyPr>
          <a:lstStyle>
            <a:lvl1pPr>
              <a:defRPr/>
            </a:lvl1pPr>
          </a:lstStyle>
          <a:p>
            <a:r>
              <a:rPr lang="en-NZ" dirty="0"/>
              <a:t>ICON</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14" hasCustomPrompt="1"/>
            <p:custDataLst>
              <p:tags r:id="rId10"/>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468591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Four Text Boxe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550007802"/>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3" name="Object 12" hidden="1"/>
                      <p:cNvPicPr/>
                      <p:nvPr/>
                    </p:nvPicPr>
                    <p:blipFill>
                      <a:blip r:embed="rId17"/>
                      <a:stretch>
                        <a:fillRect/>
                      </a:stretch>
                    </p:blipFill>
                    <p:spPr>
                      <a:xfrm>
                        <a:off x="0" y="0"/>
                        <a:ext cx="112252" cy="224510"/>
                      </a:xfrm>
                      <a:prstGeom prst="rect">
                        <a:avLst/>
                      </a:prstGeom>
                    </p:spPr>
                  </p:pic>
                </p:oleObj>
              </mc:Fallback>
            </mc:AlternateContent>
          </a:graphicData>
        </a:graphic>
      </p:graphicFrame>
      <p:sp>
        <p:nvSpPr>
          <p:cNvPr id="26" name="Picture Placeholder 8"/>
          <p:cNvSpPr>
            <a:spLocks noGrp="1"/>
          </p:cNvSpPr>
          <p:nvPr>
            <p:ph type="pic" sz="quarter" idx="22"/>
            <p:custDataLst>
              <p:tags r:id="rId2"/>
            </p:custDataLst>
          </p:nvPr>
        </p:nvSpPr>
        <p:spPr>
          <a:xfrm>
            <a:off x="688145"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Picture Placeholder 8"/>
          <p:cNvSpPr>
            <a:spLocks noGrp="1"/>
          </p:cNvSpPr>
          <p:nvPr>
            <p:ph type="pic" sz="quarter" idx="23"/>
            <p:custDataLst>
              <p:tags r:id="rId3"/>
            </p:custDataLst>
          </p:nvPr>
        </p:nvSpPr>
        <p:spPr>
          <a:xfrm>
            <a:off x="2307174"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0" name="Picture Placeholder 8"/>
          <p:cNvSpPr>
            <a:spLocks noGrp="1"/>
          </p:cNvSpPr>
          <p:nvPr>
            <p:ph type="pic" sz="quarter" idx="30"/>
            <p:custDataLst>
              <p:tags r:id="rId4"/>
            </p:custDataLst>
          </p:nvPr>
        </p:nvSpPr>
        <p:spPr>
          <a:xfrm>
            <a:off x="392620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Picture Placeholder 8"/>
          <p:cNvSpPr>
            <a:spLocks noGrp="1"/>
          </p:cNvSpPr>
          <p:nvPr>
            <p:ph type="pic" sz="quarter" idx="25"/>
            <p:custDataLst>
              <p:tags r:id="rId5"/>
            </p:custDataLst>
          </p:nvPr>
        </p:nvSpPr>
        <p:spPr>
          <a:xfrm>
            <a:off x="554523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4" name="Text Placeholder 4"/>
          <p:cNvSpPr>
            <a:spLocks noGrp="1"/>
          </p:cNvSpPr>
          <p:nvPr>
            <p:ph type="body" sz="quarter" idx="11" hasCustomPrompt="1"/>
            <p:custDataLst>
              <p:tags r:id="rId6"/>
            </p:custDataLst>
          </p:nvPr>
        </p:nvSpPr>
        <p:spPr>
          <a:xfrm>
            <a:off x="687820" y="2874745"/>
            <a:ext cx="1368000" cy="504000"/>
          </a:xfrm>
          <a:prstGeom prst="rect">
            <a:avLst/>
          </a:prstGeom>
          <a:solidFill>
            <a:schemeClr val="accent1"/>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5" name="Text Placeholder 4"/>
          <p:cNvSpPr>
            <a:spLocks noGrp="1"/>
          </p:cNvSpPr>
          <p:nvPr>
            <p:ph type="body" sz="quarter" idx="26" hasCustomPrompt="1"/>
            <p:custDataLst>
              <p:tags r:id="rId7"/>
            </p:custDataLst>
          </p:nvPr>
        </p:nvSpPr>
        <p:spPr>
          <a:xfrm>
            <a:off x="2306958" y="2874745"/>
            <a:ext cx="1368000" cy="504000"/>
          </a:xfrm>
          <a:prstGeom prst="rect">
            <a:avLst/>
          </a:prstGeom>
          <a:solidFill>
            <a:schemeClr val="accent4"/>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6" name="Text Placeholder 4"/>
          <p:cNvSpPr>
            <a:spLocks noGrp="1"/>
          </p:cNvSpPr>
          <p:nvPr>
            <p:ph type="body" sz="quarter" idx="27" hasCustomPrompt="1"/>
            <p:custDataLst>
              <p:tags r:id="rId8"/>
            </p:custDataLst>
          </p:nvPr>
        </p:nvSpPr>
        <p:spPr>
          <a:xfrm>
            <a:off x="3926096" y="2874745"/>
            <a:ext cx="1368000" cy="504000"/>
          </a:xfrm>
          <a:prstGeom prst="rect">
            <a:avLst/>
          </a:prstGeom>
          <a:solidFill>
            <a:schemeClr val="accent5"/>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7" name="Text Placeholder 4"/>
          <p:cNvSpPr>
            <a:spLocks noGrp="1"/>
          </p:cNvSpPr>
          <p:nvPr>
            <p:ph type="body" sz="quarter" idx="28" hasCustomPrompt="1"/>
            <p:custDataLst>
              <p:tags r:id="rId9"/>
            </p:custDataLst>
          </p:nvPr>
        </p:nvSpPr>
        <p:spPr>
          <a:xfrm>
            <a:off x="5545233" y="2874745"/>
            <a:ext cx="1368000" cy="504000"/>
          </a:xfrm>
          <a:prstGeom prst="rect">
            <a:avLst/>
          </a:prstGeom>
          <a:solidFill>
            <a:schemeClr val="accent6"/>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0" name="Text Placeholder 4"/>
          <p:cNvSpPr>
            <a:spLocks noGrp="1"/>
          </p:cNvSpPr>
          <p:nvPr>
            <p:ph type="body" sz="quarter" idx="29"/>
            <p:custDataLst>
              <p:tags r:id="rId10"/>
            </p:custDataLst>
          </p:nvPr>
        </p:nvSpPr>
        <p:spPr>
          <a:xfrm>
            <a:off x="687820" y="3480837"/>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1" name="Text Placeholder 4"/>
          <p:cNvSpPr>
            <a:spLocks noGrp="1"/>
          </p:cNvSpPr>
          <p:nvPr>
            <p:ph type="body" sz="quarter" idx="12"/>
            <p:custDataLst>
              <p:tags r:id="rId11"/>
            </p:custDataLst>
          </p:nvPr>
        </p:nvSpPr>
        <p:spPr>
          <a:xfrm>
            <a:off x="2306958"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2" name="Text Placeholder 4"/>
          <p:cNvSpPr>
            <a:spLocks noGrp="1"/>
          </p:cNvSpPr>
          <p:nvPr>
            <p:ph type="body" sz="quarter" idx="13"/>
            <p:custDataLst>
              <p:tags r:id="rId12"/>
            </p:custDataLst>
          </p:nvPr>
        </p:nvSpPr>
        <p:spPr>
          <a:xfrm>
            <a:off x="3926096"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3" name="Text Placeholder 4"/>
          <p:cNvSpPr>
            <a:spLocks noGrp="1"/>
          </p:cNvSpPr>
          <p:nvPr>
            <p:ph type="body" sz="quarter" idx="14"/>
            <p:custDataLst>
              <p:tags r:id="rId13"/>
            </p:custDataLst>
          </p:nvPr>
        </p:nvSpPr>
        <p:spPr>
          <a:xfrm>
            <a:off x="554523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31" hasCustomPrompt="1"/>
            <p:custDataLst>
              <p:tags r:id="rId1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03596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Eight Text Boxe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306873844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13" name="Object 12" hidden="1"/>
                      <p:cNvPicPr/>
                      <p:nvPr/>
                    </p:nvPicPr>
                    <p:blipFill>
                      <a:blip r:embed="rId29"/>
                      <a:stretch>
                        <a:fillRect/>
                      </a:stretch>
                    </p:blipFill>
                    <p:spPr>
                      <a:xfrm>
                        <a:off x="0" y="0"/>
                        <a:ext cx="112252" cy="224510"/>
                      </a:xfrm>
                      <a:prstGeom prst="rect">
                        <a:avLst/>
                      </a:prstGeom>
                    </p:spPr>
                  </p:pic>
                </p:oleObj>
              </mc:Fallback>
            </mc:AlternateContent>
          </a:graphicData>
        </a:graphic>
      </p:graphicFrame>
      <p:sp>
        <p:nvSpPr>
          <p:cNvPr id="19" name="Picture Placeholder 8"/>
          <p:cNvSpPr>
            <a:spLocks noGrp="1"/>
          </p:cNvSpPr>
          <p:nvPr>
            <p:ph type="pic" sz="quarter" idx="31"/>
            <p:custDataLst>
              <p:tags r:id="rId2"/>
            </p:custDataLst>
          </p:nvPr>
        </p:nvSpPr>
        <p:spPr>
          <a:xfrm>
            <a:off x="688145"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4" name="Picture Placeholder 8"/>
          <p:cNvSpPr>
            <a:spLocks noGrp="1"/>
          </p:cNvSpPr>
          <p:nvPr>
            <p:ph type="pic" sz="quarter" idx="32"/>
            <p:custDataLst>
              <p:tags r:id="rId3"/>
            </p:custDataLst>
          </p:nvPr>
        </p:nvSpPr>
        <p:spPr>
          <a:xfrm>
            <a:off x="2307174"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Picture Placeholder 8"/>
          <p:cNvSpPr>
            <a:spLocks noGrp="1"/>
          </p:cNvSpPr>
          <p:nvPr>
            <p:ph type="pic" sz="quarter" idx="33"/>
            <p:custDataLst>
              <p:tags r:id="rId4"/>
            </p:custDataLst>
          </p:nvPr>
        </p:nvSpPr>
        <p:spPr>
          <a:xfrm>
            <a:off x="3926203"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8" name="Picture Placeholder 8"/>
          <p:cNvSpPr>
            <a:spLocks noGrp="1"/>
          </p:cNvSpPr>
          <p:nvPr>
            <p:ph type="pic" sz="quarter" idx="34"/>
            <p:custDataLst>
              <p:tags r:id="rId5"/>
            </p:custDataLst>
          </p:nvPr>
        </p:nvSpPr>
        <p:spPr>
          <a:xfrm>
            <a:off x="5545233"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4"/>
          <p:cNvSpPr>
            <a:spLocks noGrp="1"/>
          </p:cNvSpPr>
          <p:nvPr>
            <p:ph type="body" sz="quarter" idx="35" hasCustomPrompt="1"/>
            <p:custDataLst>
              <p:tags r:id="rId6"/>
            </p:custDataLst>
          </p:nvPr>
        </p:nvSpPr>
        <p:spPr>
          <a:xfrm>
            <a:off x="687820" y="6908129"/>
            <a:ext cx="1368000" cy="504000"/>
          </a:xfrm>
          <a:prstGeom prst="rect">
            <a:avLst/>
          </a:prstGeom>
          <a:solidFill>
            <a:schemeClr val="accent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2" name="Text Placeholder 4"/>
          <p:cNvSpPr>
            <a:spLocks noGrp="1"/>
          </p:cNvSpPr>
          <p:nvPr>
            <p:ph type="body" sz="quarter" idx="36" hasCustomPrompt="1"/>
            <p:custDataLst>
              <p:tags r:id="rId7"/>
            </p:custDataLst>
          </p:nvPr>
        </p:nvSpPr>
        <p:spPr>
          <a:xfrm>
            <a:off x="2307174" y="6908129"/>
            <a:ext cx="1368000" cy="504000"/>
          </a:xfrm>
          <a:prstGeom prst="rect">
            <a:avLst/>
          </a:prstGeom>
          <a:solidFill>
            <a:schemeClr val="bg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3" name="Text Placeholder 4"/>
          <p:cNvSpPr>
            <a:spLocks noGrp="1"/>
          </p:cNvSpPr>
          <p:nvPr>
            <p:ph type="body" sz="quarter" idx="37" hasCustomPrompt="1"/>
            <p:custDataLst>
              <p:tags r:id="rId8"/>
            </p:custDataLst>
          </p:nvPr>
        </p:nvSpPr>
        <p:spPr>
          <a:xfrm>
            <a:off x="3926203" y="6908129"/>
            <a:ext cx="1368000" cy="504000"/>
          </a:xfrm>
          <a:prstGeom prst="rect">
            <a:avLst/>
          </a:prstGeom>
          <a:solidFill>
            <a:schemeClr val="tx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4" name="Text Placeholder 4"/>
          <p:cNvSpPr>
            <a:spLocks noGrp="1"/>
          </p:cNvSpPr>
          <p:nvPr>
            <p:ph type="body" sz="quarter" idx="38" hasCustomPrompt="1"/>
            <p:custDataLst>
              <p:tags r:id="rId9"/>
            </p:custDataLst>
          </p:nvPr>
        </p:nvSpPr>
        <p:spPr>
          <a:xfrm>
            <a:off x="5545233" y="6908129"/>
            <a:ext cx="1368000" cy="504000"/>
          </a:xfrm>
          <a:prstGeom prst="rect">
            <a:avLst/>
          </a:prstGeom>
          <a:solidFill>
            <a:schemeClr val="accent3"/>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5" name="Text Placeholder 4"/>
          <p:cNvSpPr>
            <a:spLocks noGrp="1"/>
          </p:cNvSpPr>
          <p:nvPr>
            <p:ph type="body" sz="quarter" idx="39"/>
            <p:custDataLst>
              <p:tags r:id="rId10"/>
            </p:custDataLst>
          </p:nvPr>
        </p:nvSpPr>
        <p:spPr>
          <a:xfrm>
            <a:off x="687820" y="7514221"/>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6" name="Text Placeholder 4"/>
          <p:cNvSpPr>
            <a:spLocks noGrp="1"/>
          </p:cNvSpPr>
          <p:nvPr>
            <p:ph type="body" sz="quarter" idx="40"/>
            <p:custDataLst>
              <p:tags r:id="rId11"/>
            </p:custDataLst>
          </p:nvPr>
        </p:nvSpPr>
        <p:spPr>
          <a:xfrm>
            <a:off x="2307174"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7" name="Text Placeholder 4"/>
          <p:cNvSpPr>
            <a:spLocks noGrp="1"/>
          </p:cNvSpPr>
          <p:nvPr>
            <p:ph type="body" sz="quarter" idx="41"/>
            <p:custDataLst>
              <p:tags r:id="rId12"/>
            </p:custDataLst>
          </p:nvPr>
        </p:nvSpPr>
        <p:spPr>
          <a:xfrm>
            <a:off x="3926203"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8" name="Text Placeholder 4"/>
          <p:cNvSpPr>
            <a:spLocks noGrp="1"/>
          </p:cNvSpPr>
          <p:nvPr>
            <p:ph type="body" sz="quarter" idx="42"/>
            <p:custDataLst>
              <p:tags r:id="rId13"/>
            </p:custDataLst>
          </p:nvPr>
        </p:nvSpPr>
        <p:spPr>
          <a:xfrm>
            <a:off x="5545233"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0" name="Text Placeholder 9"/>
          <p:cNvSpPr>
            <a:spLocks noGrp="1"/>
          </p:cNvSpPr>
          <p:nvPr>
            <p:ph type="body" sz="quarter" idx="43" hasCustomPrompt="1"/>
            <p:custDataLst>
              <p:tags r:id="rId1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39" name="Picture Placeholder 8"/>
          <p:cNvSpPr>
            <a:spLocks noGrp="1"/>
          </p:cNvSpPr>
          <p:nvPr>
            <p:ph type="pic" sz="quarter" idx="22"/>
            <p:custDataLst>
              <p:tags r:id="rId15"/>
            </p:custDataLst>
          </p:nvPr>
        </p:nvSpPr>
        <p:spPr>
          <a:xfrm>
            <a:off x="688145"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Picture Placeholder 8"/>
          <p:cNvSpPr>
            <a:spLocks noGrp="1"/>
          </p:cNvSpPr>
          <p:nvPr>
            <p:ph type="pic" sz="quarter" idx="23"/>
            <p:custDataLst>
              <p:tags r:id="rId16"/>
            </p:custDataLst>
          </p:nvPr>
        </p:nvSpPr>
        <p:spPr>
          <a:xfrm>
            <a:off x="2307174"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2" name="Picture Placeholder 8"/>
          <p:cNvSpPr>
            <a:spLocks noGrp="1"/>
          </p:cNvSpPr>
          <p:nvPr>
            <p:ph type="pic" sz="quarter" idx="30"/>
            <p:custDataLst>
              <p:tags r:id="rId17"/>
            </p:custDataLst>
          </p:nvPr>
        </p:nvSpPr>
        <p:spPr>
          <a:xfrm>
            <a:off x="392620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3" name="Picture Placeholder 8"/>
          <p:cNvSpPr>
            <a:spLocks noGrp="1"/>
          </p:cNvSpPr>
          <p:nvPr>
            <p:ph type="pic" sz="quarter" idx="25"/>
            <p:custDataLst>
              <p:tags r:id="rId18"/>
            </p:custDataLst>
          </p:nvPr>
        </p:nvSpPr>
        <p:spPr>
          <a:xfrm>
            <a:off x="554523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4" name="Text Placeholder 4"/>
          <p:cNvSpPr>
            <a:spLocks noGrp="1"/>
          </p:cNvSpPr>
          <p:nvPr>
            <p:ph type="body" sz="quarter" idx="11" hasCustomPrompt="1"/>
            <p:custDataLst>
              <p:tags r:id="rId19"/>
            </p:custDataLst>
          </p:nvPr>
        </p:nvSpPr>
        <p:spPr>
          <a:xfrm>
            <a:off x="687820" y="2874745"/>
            <a:ext cx="1368000" cy="504000"/>
          </a:xfrm>
          <a:prstGeom prst="rect">
            <a:avLst/>
          </a:prstGeom>
          <a:solidFill>
            <a:schemeClr val="accent1"/>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5" name="Text Placeholder 4"/>
          <p:cNvSpPr>
            <a:spLocks noGrp="1"/>
          </p:cNvSpPr>
          <p:nvPr>
            <p:ph type="body" sz="quarter" idx="26" hasCustomPrompt="1"/>
            <p:custDataLst>
              <p:tags r:id="rId20"/>
            </p:custDataLst>
          </p:nvPr>
        </p:nvSpPr>
        <p:spPr>
          <a:xfrm>
            <a:off x="2307174" y="2874745"/>
            <a:ext cx="1368000" cy="504000"/>
          </a:xfrm>
          <a:prstGeom prst="rect">
            <a:avLst/>
          </a:prstGeom>
          <a:solidFill>
            <a:schemeClr val="accent4"/>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6" name="Text Placeholder 4"/>
          <p:cNvSpPr>
            <a:spLocks noGrp="1"/>
          </p:cNvSpPr>
          <p:nvPr>
            <p:ph type="body" sz="quarter" idx="27" hasCustomPrompt="1"/>
            <p:custDataLst>
              <p:tags r:id="rId21"/>
            </p:custDataLst>
          </p:nvPr>
        </p:nvSpPr>
        <p:spPr>
          <a:xfrm>
            <a:off x="3926203" y="2874745"/>
            <a:ext cx="1368000" cy="504000"/>
          </a:xfrm>
          <a:prstGeom prst="rect">
            <a:avLst/>
          </a:prstGeom>
          <a:solidFill>
            <a:schemeClr val="accent5"/>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7" name="Text Placeholder 4"/>
          <p:cNvSpPr>
            <a:spLocks noGrp="1"/>
          </p:cNvSpPr>
          <p:nvPr>
            <p:ph type="body" sz="quarter" idx="28" hasCustomPrompt="1"/>
            <p:custDataLst>
              <p:tags r:id="rId22"/>
            </p:custDataLst>
          </p:nvPr>
        </p:nvSpPr>
        <p:spPr>
          <a:xfrm>
            <a:off x="5545233" y="2874745"/>
            <a:ext cx="1368000" cy="504000"/>
          </a:xfrm>
          <a:prstGeom prst="rect">
            <a:avLst/>
          </a:prstGeom>
          <a:solidFill>
            <a:schemeClr val="accent6"/>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8" name="Text Placeholder 4"/>
          <p:cNvSpPr>
            <a:spLocks noGrp="1"/>
          </p:cNvSpPr>
          <p:nvPr>
            <p:ph type="body" sz="quarter" idx="29"/>
            <p:custDataLst>
              <p:tags r:id="rId23"/>
            </p:custDataLst>
          </p:nvPr>
        </p:nvSpPr>
        <p:spPr>
          <a:xfrm>
            <a:off x="687820" y="3480837"/>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49" name="Text Placeholder 4"/>
          <p:cNvSpPr>
            <a:spLocks noGrp="1"/>
          </p:cNvSpPr>
          <p:nvPr>
            <p:ph type="body" sz="quarter" idx="12"/>
            <p:custDataLst>
              <p:tags r:id="rId24"/>
            </p:custDataLst>
          </p:nvPr>
        </p:nvSpPr>
        <p:spPr>
          <a:xfrm>
            <a:off x="2307174"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0" name="Text Placeholder 4"/>
          <p:cNvSpPr>
            <a:spLocks noGrp="1"/>
          </p:cNvSpPr>
          <p:nvPr>
            <p:ph type="body" sz="quarter" idx="13"/>
            <p:custDataLst>
              <p:tags r:id="rId25"/>
            </p:custDataLst>
          </p:nvPr>
        </p:nvSpPr>
        <p:spPr>
          <a:xfrm>
            <a:off x="392620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1" name="Text Placeholder 4"/>
          <p:cNvSpPr>
            <a:spLocks noGrp="1"/>
          </p:cNvSpPr>
          <p:nvPr>
            <p:ph type="body" sz="quarter" idx="14"/>
            <p:custDataLst>
              <p:tags r:id="rId26"/>
            </p:custDataLst>
          </p:nvPr>
        </p:nvSpPr>
        <p:spPr>
          <a:xfrm>
            <a:off x="554523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7937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ies Singl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2858101809"/>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noChangeAspect="1"/>
          </p:cNvSpPr>
          <p:nvPr>
            <p:ph type="pic" sz="quarter" idx="12"/>
          </p:nvPr>
        </p:nvSpPr>
        <p:spPr>
          <a:xfrm>
            <a:off x="684000" y="1817688"/>
            <a:ext cx="1926000" cy="1926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684000" y="3924074"/>
            <a:ext cx="6191463" cy="533479"/>
          </a:xfrm>
          <a:prstGeom prst="rect">
            <a:avLst/>
          </a:prstGeom>
        </p:spPr>
        <p:txBody>
          <a:bodyPr/>
          <a:lstStyle>
            <a:lvl1pPr>
              <a:lnSpc>
                <a:spcPct val="100000"/>
              </a:lnSpc>
              <a:spcAft>
                <a:spcPts val="400"/>
              </a:spcAft>
              <a:defRPr sz="1000" b="1"/>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5" name="Text Placeholder 6"/>
          <p:cNvSpPr>
            <a:spLocks noGrp="1"/>
          </p:cNvSpPr>
          <p:nvPr>
            <p:ph type="body" sz="quarter" idx="28"/>
            <p:custDataLst>
              <p:tags r:id="rId2"/>
            </p:custDataLst>
          </p:nvPr>
        </p:nvSpPr>
        <p:spPr>
          <a:xfrm>
            <a:off x="684000"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16" name="Text Placeholder 4"/>
          <p:cNvSpPr>
            <a:spLocks noGrp="1"/>
          </p:cNvSpPr>
          <p:nvPr>
            <p:ph type="body" sz="quarter" idx="29" hasCustomPrompt="1"/>
            <p:custDataLst>
              <p:tags r:id="rId3"/>
            </p:custDataLst>
          </p:nvPr>
        </p:nvSpPr>
        <p:spPr>
          <a:xfrm>
            <a:off x="684000"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0" name="Text Placeholder 6"/>
          <p:cNvSpPr>
            <a:spLocks noGrp="1"/>
          </p:cNvSpPr>
          <p:nvPr>
            <p:ph type="body" sz="quarter" idx="31"/>
            <p:custDataLst>
              <p:tags r:id="rId4"/>
            </p:custDataLst>
          </p:nvPr>
        </p:nvSpPr>
        <p:spPr>
          <a:xfrm>
            <a:off x="2291821"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1" name="Text Placeholder 4"/>
          <p:cNvSpPr>
            <a:spLocks noGrp="1"/>
          </p:cNvSpPr>
          <p:nvPr>
            <p:ph type="body" sz="quarter" idx="32" hasCustomPrompt="1"/>
            <p:custDataLst>
              <p:tags r:id="rId5"/>
            </p:custDataLst>
          </p:nvPr>
        </p:nvSpPr>
        <p:spPr>
          <a:xfrm>
            <a:off x="2291821"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2" name="Text Placeholder 6"/>
          <p:cNvSpPr>
            <a:spLocks noGrp="1"/>
          </p:cNvSpPr>
          <p:nvPr>
            <p:ph type="body" sz="quarter" idx="33"/>
            <p:custDataLst>
              <p:tags r:id="rId6"/>
            </p:custDataLst>
          </p:nvPr>
        </p:nvSpPr>
        <p:spPr>
          <a:xfrm>
            <a:off x="3899642"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3" name="Text Placeholder 4"/>
          <p:cNvSpPr>
            <a:spLocks noGrp="1"/>
          </p:cNvSpPr>
          <p:nvPr>
            <p:ph type="body" sz="quarter" idx="34" hasCustomPrompt="1"/>
            <p:custDataLst>
              <p:tags r:id="rId7"/>
            </p:custDataLst>
          </p:nvPr>
        </p:nvSpPr>
        <p:spPr>
          <a:xfrm>
            <a:off x="3899642"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6" name="Text Placeholder 6"/>
          <p:cNvSpPr>
            <a:spLocks noGrp="1"/>
          </p:cNvSpPr>
          <p:nvPr>
            <p:ph type="body" sz="quarter" idx="35"/>
            <p:custDataLst>
              <p:tags r:id="rId8"/>
            </p:custDataLst>
          </p:nvPr>
        </p:nvSpPr>
        <p:spPr>
          <a:xfrm>
            <a:off x="5545563"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7" name="Text Placeholder 4"/>
          <p:cNvSpPr>
            <a:spLocks noGrp="1"/>
          </p:cNvSpPr>
          <p:nvPr>
            <p:ph type="body" sz="quarter" idx="36" hasCustomPrompt="1"/>
            <p:custDataLst>
              <p:tags r:id="rId9"/>
            </p:custDataLst>
          </p:nvPr>
        </p:nvSpPr>
        <p:spPr>
          <a:xfrm>
            <a:off x="5545563"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24" name="Text Placeholder 9"/>
          <p:cNvSpPr>
            <a:spLocks noGrp="1"/>
          </p:cNvSpPr>
          <p:nvPr>
            <p:ph type="body" sz="quarter" idx="14" hasCustomPrompt="1"/>
            <p:custDataLst>
              <p:tags r:id="rId10"/>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2748521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ies On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256532066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2351314" y="1817688"/>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810631"/>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2351314" y="3810631"/>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5803574"/>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2351314" y="5803574"/>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7796517"/>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2351314" y="7796517"/>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6"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7137372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ies Two">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347015481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1889759"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6" name="Picture Placeholder 8"/>
          <p:cNvSpPr>
            <a:spLocks noGrp="1"/>
          </p:cNvSpPr>
          <p:nvPr>
            <p:ph type="pic" sz="quarter" idx="18"/>
          </p:nvPr>
        </p:nvSpPr>
        <p:spPr>
          <a:xfrm>
            <a:off x="3852695"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0" name="Text Placeholder 18"/>
          <p:cNvSpPr>
            <a:spLocks noGrp="1"/>
          </p:cNvSpPr>
          <p:nvPr>
            <p:ph type="body" sz="quarter" idx="25"/>
          </p:nvPr>
        </p:nvSpPr>
        <p:spPr>
          <a:xfrm>
            <a:off x="5085398"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812184"/>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1889759" y="3812184"/>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6" name="Picture Placeholder 8"/>
          <p:cNvSpPr>
            <a:spLocks noGrp="1"/>
          </p:cNvSpPr>
          <p:nvPr>
            <p:ph type="pic" sz="quarter" idx="28"/>
          </p:nvPr>
        </p:nvSpPr>
        <p:spPr>
          <a:xfrm>
            <a:off x="3852695" y="3812184"/>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Text Placeholder 18"/>
          <p:cNvSpPr>
            <a:spLocks noGrp="1"/>
          </p:cNvSpPr>
          <p:nvPr>
            <p:ph type="body" sz="quarter" idx="29"/>
          </p:nvPr>
        </p:nvSpPr>
        <p:spPr>
          <a:xfrm>
            <a:off x="5085398" y="3812184"/>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5806680"/>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1889759" y="5806680"/>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0" name="Picture Placeholder 8"/>
          <p:cNvSpPr>
            <a:spLocks noGrp="1"/>
          </p:cNvSpPr>
          <p:nvPr>
            <p:ph type="pic" sz="quarter" idx="32"/>
          </p:nvPr>
        </p:nvSpPr>
        <p:spPr>
          <a:xfrm>
            <a:off x="3852695" y="5806680"/>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Text Placeholder 18"/>
          <p:cNvSpPr>
            <a:spLocks noGrp="1"/>
          </p:cNvSpPr>
          <p:nvPr>
            <p:ph type="body" sz="quarter" idx="33"/>
          </p:nvPr>
        </p:nvSpPr>
        <p:spPr>
          <a:xfrm>
            <a:off x="5085398" y="5806680"/>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780117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1889759" y="780117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4" name="Picture Placeholder 8"/>
          <p:cNvSpPr>
            <a:spLocks noGrp="1"/>
          </p:cNvSpPr>
          <p:nvPr>
            <p:ph type="pic" sz="quarter" idx="36"/>
          </p:nvPr>
        </p:nvSpPr>
        <p:spPr>
          <a:xfrm>
            <a:off x="3852695" y="780117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5" name="Text Placeholder 18"/>
          <p:cNvSpPr>
            <a:spLocks noGrp="1"/>
          </p:cNvSpPr>
          <p:nvPr>
            <p:ph type="body" sz="quarter" idx="37"/>
          </p:nvPr>
        </p:nvSpPr>
        <p:spPr>
          <a:xfrm>
            <a:off x="5085398" y="780117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21"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075835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ies Thre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42261889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3" name="Object 12"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1889759"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6" name="Picture Placeholder 8"/>
          <p:cNvSpPr>
            <a:spLocks noGrp="1"/>
          </p:cNvSpPr>
          <p:nvPr>
            <p:ph type="pic" sz="quarter" idx="18"/>
          </p:nvPr>
        </p:nvSpPr>
        <p:spPr>
          <a:xfrm>
            <a:off x="3852695"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0" name="Text Placeholder 18"/>
          <p:cNvSpPr>
            <a:spLocks noGrp="1"/>
          </p:cNvSpPr>
          <p:nvPr>
            <p:ph type="body" sz="quarter" idx="25"/>
          </p:nvPr>
        </p:nvSpPr>
        <p:spPr>
          <a:xfrm>
            <a:off x="5085398"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191355"/>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1889759" y="3191355"/>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6" name="Picture Placeholder 8"/>
          <p:cNvSpPr>
            <a:spLocks noGrp="1"/>
          </p:cNvSpPr>
          <p:nvPr>
            <p:ph type="pic" sz="quarter" idx="28"/>
          </p:nvPr>
        </p:nvSpPr>
        <p:spPr>
          <a:xfrm>
            <a:off x="3852695" y="3191355"/>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Text Placeholder 18"/>
          <p:cNvSpPr>
            <a:spLocks noGrp="1"/>
          </p:cNvSpPr>
          <p:nvPr>
            <p:ph type="body" sz="quarter" idx="29"/>
          </p:nvPr>
        </p:nvSpPr>
        <p:spPr>
          <a:xfrm>
            <a:off x="5085398" y="3191355"/>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4565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1889759" y="4565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0" name="Picture Placeholder 8"/>
          <p:cNvSpPr>
            <a:spLocks noGrp="1"/>
          </p:cNvSpPr>
          <p:nvPr>
            <p:ph type="pic" sz="quarter" idx="32"/>
          </p:nvPr>
        </p:nvSpPr>
        <p:spPr>
          <a:xfrm>
            <a:off x="3852695" y="4565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Text Placeholder 18"/>
          <p:cNvSpPr>
            <a:spLocks noGrp="1"/>
          </p:cNvSpPr>
          <p:nvPr>
            <p:ph type="body" sz="quarter" idx="33"/>
          </p:nvPr>
        </p:nvSpPr>
        <p:spPr>
          <a:xfrm>
            <a:off x="5085398" y="4565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5938689"/>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1889759" y="5938689"/>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4" name="Picture Placeholder 8"/>
          <p:cNvSpPr>
            <a:spLocks noGrp="1"/>
          </p:cNvSpPr>
          <p:nvPr>
            <p:ph type="pic" sz="quarter" idx="36"/>
          </p:nvPr>
        </p:nvSpPr>
        <p:spPr>
          <a:xfrm>
            <a:off x="3852695" y="5938689"/>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5" name="Text Placeholder 18"/>
          <p:cNvSpPr>
            <a:spLocks noGrp="1"/>
          </p:cNvSpPr>
          <p:nvPr>
            <p:ph type="body" sz="quarter" idx="37"/>
          </p:nvPr>
        </p:nvSpPr>
        <p:spPr>
          <a:xfrm>
            <a:off x="5085398" y="5938689"/>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6" name="Picture Placeholder 8"/>
          <p:cNvSpPr>
            <a:spLocks noGrp="1"/>
          </p:cNvSpPr>
          <p:nvPr>
            <p:ph type="pic" sz="quarter" idx="38"/>
          </p:nvPr>
        </p:nvSpPr>
        <p:spPr>
          <a:xfrm>
            <a:off x="684000" y="731235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7" name="Text Placeholder 18"/>
          <p:cNvSpPr>
            <a:spLocks noGrp="1"/>
          </p:cNvSpPr>
          <p:nvPr>
            <p:ph type="body" sz="quarter" idx="39"/>
          </p:nvPr>
        </p:nvSpPr>
        <p:spPr>
          <a:xfrm>
            <a:off x="1889759" y="731235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8" name="Picture Placeholder 8"/>
          <p:cNvSpPr>
            <a:spLocks noGrp="1"/>
          </p:cNvSpPr>
          <p:nvPr>
            <p:ph type="pic" sz="quarter" idx="40"/>
          </p:nvPr>
        </p:nvSpPr>
        <p:spPr>
          <a:xfrm>
            <a:off x="3852695" y="731235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9" name="Text Placeholder 18"/>
          <p:cNvSpPr>
            <a:spLocks noGrp="1"/>
          </p:cNvSpPr>
          <p:nvPr>
            <p:ph type="body" sz="quarter" idx="41"/>
          </p:nvPr>
        </p:nvSpPr>
        <p:spPr>
          <a:xfrm>
            <a:off x="5085398" y="731235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40" name="Picture Placeholder 8"/>
          <p:cNvSpPr>
            <a:spLocks noGrp="1"/>
          </p:cNvSpPr>
          <p:nvPr>
            <p:ph type="pic" sz="quarter" idx="42"/>
            <p:custDataLst>
              <p:tags r:id="rId2"/>
            </p:custDataLst>
          </p:nvPr>
        </p:nvSpPr>
        <p:spPr>
          <a:xfrm>
            <a:off x="684000" y="8686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Text Placeholder 18"/>
          <p:cNvSpPr>
            <a:spLocks noGrp="1"/>
          </p:cNvSpPr>
          <p:nvPr>
            <p:ph type="body" sz="quarter" idx="43"/>
          </p:nvPr>
        </p:nvSpPr>
        <p:spPr>
          <a:xfrm>
            <a:off x="1889759" y="8686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42" name="Picture Placeholder 8"/>
          <p:cNvSpPr>
            <a:spLocks noGrp="1"/>
          </p:cNvSpPr>
          <p:nvPr>
            <p:ph type="pic" sz="quarter" idx="44"/>
            <p:custDataLst>
              <p:tags r:id="rId3"/>
            </p:custDataLst>
          </p:nvPr>
        </p:nvSpPr>
        <p:spPr>
          <a:xfrm>
            <a:off x="3852695" y="8686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3" name="Text Placeholder 18"/>
          <p:cNvSpPr>
            <a:spLocks noGrp="1"/>
          </p:cNvSpPr>
          <p:nvPr>
            <p:ph type="body" sz="quarter" idx="45"/>
            <p:custDataLst>
              <p:tags r:id="rId4"/>
            </p:custDataLst>
          </p:nvPr>
        </p:nvSpPr>
        <p:spPr>
          <a:xfrm>
            <a:off x="5085398" y="8686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5" name="Text Placeholder 9"/>
          <p:cNvSpPr>
            <a:spLocks noGrp="1"/>
          </p:cNvSpPr>
          <p:nvPr>
            <p:ph type="body" sz="quarter" idx="14" hasCustomPrompt="1"/>
            <p:custDataLst>
              <p:tags r:id="rId5"/>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848297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hree">
    <p:bg>
      <p:bgPr>
        <a:solidFill>
          <a:schemeClr val="bg1"/>
        </a:solidFill>
        <a:effectLst/>
      </p:bgPr>
    </p:bg>
    <p:spTree>
      <p:nvGrpSpPr>
        <p:cNvPr id="1" name=""/>
        <p:cNvGrpSpPr/>
        <p:nvPr/>
      </p:nvGrpSpPr>
      <p:grpSpPr>
        <a:xfrm>
          <a:off x="0" y="0"/>
          <a:ext cx="0" cy="0"/>
          <a:chOff x="0" y="0"/>
          <a:chExt cx="0" cy="0"/>
        </a:xfrm>
      </p:grpSpPr>
      <p:sp>
        <p:nvSpPr>
          <p:cNvPr id="6" name="Freeform 244"/>
          <p:cNvSpPr>
            <a:spLocks/>
          </p:cNvSpPr>
          <p:nvPr userDrawn="1"/>
        </p:nvSpPr>
        <p:spPr bwMode="auto">
          <a:xfrm>
            <a:off x="0" y="0"/>
            <a:ext cx="5657850" cy="1306286"/>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42914050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12252" cy="224510"/>
                      </a:xfrm>
                      <a:prstGeom prst="rect">
                        <a:avLst/>
                      </a:prstGeom>
                    </p:spPr>
                  </p:pic>
                </p:oleObj>
              </mc:Fallback>
            </mc:AlternateContent>
          </a:graphicData>
        </a:graphic>
      </p:graphicFrame>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537114" y="406956"/>
            <a:ext cx="1830338" cy="503585"/>
          </a:xfrm>
          <a:prstGeom prst="rect">
            <a:avLst/>
          </a:prstGeom>
        </p:spPr>
      </p:pic>
      <p:sp>
        <p:nvSpPr>
          <p:cNvPr id="4" name="TextBox 3"/>
          <p:cNvSpPr txBox="1"/>
          <p:nvPr userDrawn="1"/>
        </p:nvSpPr>
        <p:spPr>
          <a:xfrm>
            <a:off x="1162594" y="2704011"/>
            <a:ext cx="5172892" cy="2863733"/>
          </a:xfrm>
          <a:prstGeom prst="rect">
            <a:avLst/>
          </a:prstGeom>
          <a:noFill/>
          <a:ln>
            <a:noFill/>
          </a:ln>
          <a:effectLst/>
        </p:spPr>
        <p:txBody>
          <a:bodyPr vert="horz" wrap="square" lIns="0" tIns="0" rIns="0" bIns="0" rtlCol="0">
            <a:spAutoFit/>
          </a:bodyPr>
          <a:lstStyle/>
          <a:p>
            <a:pPr>
              <a:lnSpc>
                <a:spcPct val="110000"/>
              </a:lnSpc>
            </a:pPr>
            <a:r>
              <a:rPr lang="en-GB" sz="8800" dirty="0">
                <a:solidFill>
                  <a:schemeClr val="bg1"/>
                </a:solidFill>
              </a:rPr>
              <a:t>FILLER PICTURE</a:t>
            </a:r>
            <a:endParaRPr lang="en-US" sz="8800" dirty="0">
              <a:solidFill>
                <a:schemeClr val="bg1"/>
              </a:solidFill>
            </a:endParaRPr>
          </a:p>
        </p:txBody>
      </p:sp>
    </p:spTree>
    <p:extLst>
      <p:ext uri="{BB962C8B-B14F-4D97-AF65-F5344CB8AC3E}">
        <p14:creationId xmlns:p14="http://schemas.microsoft.com/office/powerpoint/2010/main" val="2287630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V On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42271985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3" name="Object 12" hidden="1"/>
                      <p:cNvPicPr/>
                      <p:nvPr/>
                    </p:nvPicPr>
                    <p:blipFill>
                      <a:blip r:embed="rId9"/>
                      <a:stretch>
                        <a:fillRect/>
                      </a:stretch>
                    </p:blipFill>
                    <p:spPr>
                      <a:xfrm>
                        <a:off x="0" y="0"/>
                        <a:ext cx="112252" cy="224510"/>
                      </a:xfrm>
                      <a:prstGeom prst="rect">
                        <a:avLst/>
                      </a:prstGeom>
                    </p:spPr>
                  </p:pic>
                </p:oleObj>
              </mc:Fallback>
            </mc:AlternateContent>
          </a:graphicData>
        </a:graphic>
      </p:graphicFrame>
      <p:sp>
        <p:nvSpPr>
          <p:cNvPr id="32" name="Text Placeholder 4"/>
          <p:cNvSpPr>
            <a:spLocks noGrp="1"/>
          </p:cNvSpPr>
          <p:nvPr>
            <p:ph type="body" sz="quarter" idx="18" hasCustomPrompt="1"/>
            <p:custDataLst>
              <p:tags r:id="rId2"/>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9" name="Picture Placeholder 8"/>
          <p:cNvSpPr>
            <a:spLocks noGrp="1"/>
          </p:cNvSpPr>
          <p:nvPr>
            <p:ph type="pic" sz="quarter" idx="12"/>
            <p:custDataLst>
              <p:tags r:id="rId3"/>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2" name="Text Placeholder 4"/>
          <p:cNvSpPr>
            <a:spLocks noGrp="1"/>
          </p:cNvSpPr>
          <p:nvPr>
            <p:ph type="body" sz="quarter" idx="19" hasCustomPrompt="1"/>
            <p:custDataLst>
              <p:tags r:id="rId4"/>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9"/>
          <p:cNvSpPr>
            <a:spLocks noGrp="1"/>
          </p:cNvSpPr>
          <p:nvPr>
            <p:ph type="body" sz="quarter" idx="14" hasCustomPrompt="1"/>
            <p:custDataLst>
              <p:tags r:id="rId5"/>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17" name="Text Placeholder 18"/>
          <p:cNvSpPr>
            <a:spLocks noGrp="1"/>
          </p:cNvSpPr>
          <p:nvPr>
            <p:ph type="body" sz="quarter" idx="16" hasCustomPrompt="1"/>
            <p:custDataLst>
              <p:tags r:id="rId6"/>
            </p:custDataLst>
          </p:nvPr>
        </p:nvSpPr>
        <p:spPr>
          <a:xfrm>
            <a:off x="2270125" y="1817688"/>
            <a:ext cx="4643437"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Tree>
    <p:extLst>
      <p:ext uri="{BB962C8B-B14F-4D97-AF65-F5344CB8AC3E}">
        <p14:creationId xmlns:p14="http://schemas.microsoft.com/office/powerpoint/2010/main" val="25402072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V Two">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658866015"/>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3" name="Object 12" hidden="1"/>
                      <p:cNvPicPr/>
                      <p:nvPr/>
                    </p:nvPicPr>
                    <p:blipFill>
                      <a:blip r:embed="rId11"/>
                      <a:stretch>
                        <a:fillRect/>
                      </a:stretch>
                    </p:blipFill>
                    <p:spPr>
                      <a:xfrm>
                        <a:off x="0" y="0"/>
                        <a:ext cx="112252" cy="224510"/>
                      </a:xfrm>
                      <a:prstGeom prst="rect">
                        <a:avLst/>
                      </a:prstGeom>
                    </p:spPr>
                  </p:pic>
                </p:oleObj>
              </mc:Fallback>
            </mc:AlternateContent>
          </a:graphicData>
        </a:graphic>
      </p:graphicFrame>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16" name="Picture Placeholder 8"/>
          <p:cNvSpPr>
            <a:spLocks noGrp="1"/>
          </p:cNvSpPr>
          <p:nvPr>
            <p:ph type="pic" sz="quarter" idx="12"/>
            <p:custDataLst>
              <p:tags r:id="rId3"/>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7" name="Picture Placeholder 8"/>
          <p:cNvSpPr>
            <a:spLocks noGrp="1"/>
          </p:cNvSpPr>
          <p:nvPr>
            <p:ph type="pic" sz="quarter" idx="20"/>
            <p:custDataLst>
              <p:tags r:id="rId4"/>
            </p:custDataLst>
          </p:nvPr>
        </p:nvSpPr>
        <p:spPr>
          <a:xfrm>
            <a:off x="3889375"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8" name="Text Placeholder 18"/>
          <p:cNvSpPr>
            <a:spLocks noGrp="1"/>
          </p:cNvSpPr>
          <p:nvPr>
            <p:ph type="body" sz="quarter" idx="16" hasCustomPrompt="1"/>
            <p:custDataLst>
              <p:tags r:id="rId5"/>
            </p:custDataLst>
          </p:nvPr>
        </p:nvSpPr>
        <p:spPr>
          <a:xfrm>
            <a:off x="2270126"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0" name="Text Placeholder 18"/>
          <p:cNvSpPr>
            <a:spLocks noGrp="1"/>
          </p:cNvSpPr>
          <p:nvPr>
            <p:ph type="body" sz="quarter" idx="21" hasCustomPrompt="1"/>
            <p:custDataLst>
              <p:tags r:id="rId6"/>
            </p:custDataLst>
          </p:nvPr>
        </p:nvSpPr>
        <p:spPr>
          <a:xfrm>
            <a:off x="5511801"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1" name="Text Placeholder 4"/>
          <p:cNvSpPr>
            <a:spLocks noGrp="1"/>
          </p:cNvSpPr>
          <p:nvPr>
            <p:ph type="body" sz="quarter" idx="18" hasCustomPrompt="1"/>
            <p:custDataLst>
              <p:tags r:id="rId7"/>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7" name="Text Placeholder 4"/>
          <p:cNvSpPr>
            <a:spLocks noGrp="1"/>
          </p:cNvSpPr>
          <p:nvPr>
            <p:ph type="body" sz="quarter" idx="19" hasCustomPrompt="1"/>
            <p:custDataLst>
              <p:tags r:id="rId8"/>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Tree>
    <p:extLst>
      <p:ext uri="{BB962C8B-B14F-4D97-AF65-F5344CB8AC3E}">
        <p14:creationId xmlns:p14="http://schemas.microsoft.com/office/powerpoint/2010/main" val="453127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 Thre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607689984"/>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3" name="Object 12" hidden="1"/>
                      <p:cNvPicPr/>
                      <p:nvPr/>
                    </p:nvPicPr>
                    <p:blipFill>
                      <a:blip r:embed="rId17"/>
                      <a:stretch>
                        <a:fillRect/>
                      </a:stretch>
                    </p:blipFill>
                    <p:spPr>
                      <a:xfrm>
                        <a:off x="0" y="0"/>
                        <a:ext cx="112252" cy="224510"/>
                      </a:xfrm>
                      <a:prstGeom prst="rect">
                        <a:avLst/>
                      </a:prstGeom>
                    </p:spPr>
                  </p:pic>
                </p:oleObj>
              </mc:Fallback>
            </mc:AlternateContent>
          </a:graphicData>
        </a:graphic>
      </p:graphicFrame>
      <p:sp>
        <p:nvSpPr>
          <p:cNvPr id="20" name="Picture Placeholder 8"/>
          <p:cNvSpPr>
            <a:spLocks noGrp="1"/>
          </p:cNvSpPr>
          <p:nvPr>
            <p:ph type="pic" sz="quarter" idx="12"/>
            <p:custDataLst>
              <p:tags r:id="rId2"/>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3" name="Picture Placeholder 8"/>
          <p:cNvSpPr>
            <a:spLocks noGrp="1"/>
          </p:cNvSpPr>
          <p:nvPr>
            <p:ph type="pic" sz="quarter" idx="20"/>
            <p:custDataLst>
              <p:tags r:id="rId3"/>
            </p:custDataLst>
          </p:nvPr>
        </p:nvSpPr>
        <p:spPr>
          <a:xfrm>
            <a:off x="3889375"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Text Placeholder 18"/>
          <p:cNvSpPr>
            <a:spLocks noGrp="1"/>
          </p:cNvSpPr>
          <p:nvPr>
            <p:ph type="body" sz="quarter" idx="16" hasCustomPrompt="1"/>
            <p:custDataLst>
              <p:tags r:id="rId4"/>
            </p:custDataLst>
          </p:nvPr>
        </p:nvSpPr>
        <p:spPr>
          <a:xfrm>
            <a:off x="2270126"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42" name="Text Placeholder 18"/>
          <p:cNvSpPr>
            <a:spLocks noGrp="1"/>
          </p:cNvSpPr>
          <p:nvPr>
            <p:ph type="body" sz="quarter" idx="21" hasCustomPrompt="1"/>
            <p:custDataLst>
              <p:tags r:id="rId5"/>
            </p:custDataLst>
          </p:nvPr>
        </p:nvSpPr>
        <p:spPr>
          <a:xfrm>
            <a:off x="5511801"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14" hasCustomPrompt="1"/>
            <p:custDataLst>
              <p:tags r:id="rId6"/>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21" name="Text Placeholder 4"/>
          <p:cNvSpPr>
            <a:spLocks noGrp="1"/>
          </p:cNvSpPr>
          <p:nvPr>
            <p:ph type="body" sz="quarter" idx="18" hasCustomPrompt="1"/>
            <p:custDataLst>
              <p:tags r:id="rId7"/>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2" name="Text Placeholder 4"/>
          <p:cNvSpPr>
            <a:spLocks noGrp="1"/>
          </p:cNvSpPr>
          <p:nvPr>
            <p:ph type="body" sz="quarter" idx="19" hasCustomPrompt="1"/>
            <p:custDataLst>
              <p:tags r:id="rId8"/>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4" name="Picture Placeholder 8"/>
          <p:cNvSpPr>
            <a:spLocks noGrp="1"/>
          </p:cNvSpPr>
          <p:nvPr>
            <p:ph type="pic" sz="quarter" idx="22"/>
            <p:custDataLst>
              <p:tags r:id="rId9"/>
            </p:custDataLst>
          </p:nvPr>
        </p:nvSpPr>
        <p:spPr>
          <a:xfrm>
            <a:off x="684000" y="5383153"/>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Picture Placeholder 8"/>
          <p:cNvSpPr>
            <a:spLocks noGrp="1"/>
          </p:cNvSpPr>
          <p:nvPr>
            <p:ph type="pic" sz="quarter" idx="23"/>
            <p:custDataLst>
              <p:tags r:id="rId10"/>
            </p:custDataLst>
          </p:nvPr>
        </p:nvSpPr>
        <p:spPr>
          <a:xfrm>
            <a:off x="3889375" y="5383153"/>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6" name="Text Placeholder 18"/>
          <p:cNvSpPr>
            <a:spLocks noGrp="1"/>
          </p:cNvSpPr>
          <p:nvPr>
            <p:ph type="body" sz="quarter" idx="24" hasCustomPrompt="1"/>
            <p:custDataLst>
              <p:tags r:id="rId11"/>
            </p:custDataLst>
          </p:nvPr>
        </p:nvSpPr>
        <p:spPr>
          <a:xfrm>
            <a:off x="2270126" y="5383153"/>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7" name="Text Placeholder 18"/>
          <p:cNvSpPr>
            <a:spLocks noGrp="1"/>
          </p:cNvSpPr>
          <p:nvPr>
            <p:ph type="body" sz="quarter" idx="25" hasCustomPrompt="1"/>
            <p:custDataLst>
              <p:tags r:id="rId12"/>
            </p:custDataLst>
          </p:nvPr>
        </p:nvSpPr>
        <p:spPr>
          <a:xfrm>
            <a:off x="5511801" y="5383153"/>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8" name="Text Placeholder 4"/>
          <p:cNvSpPr>
            <a:spLocks noGrp="1"/>
          </p:cNvSpPr>
          <p:nvPr>
            <p:ph type="body" sz="quarter" idx="26" hasCustomPrompt="1"/>
            <p:custDataLst>
              <p:tags r:id="rId13"/>
            </p:custDataLst>
          </p:nvPr>
        </p:nvSpPr>
        <p:spPr>
          <a:xfrm>
            <a:off x="684000" y="7434414"/>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9" name="Text Placeholder 4"/>
          <p:cNvSpPr>
            <a:spLocks noGrp="1"/>
          </p:cNvSpPr>
          <p:nvPr>
            <p:ph type="body" sz="quarter" idx="27" hasCustomPrompt="1"/>
            <p:custDataLst>
              <p:tags r:id="rId14"/>
            </p:custDataLst>
          </p:nvPr>
        </p:nvSpPr>
        <p:spPr>
          <a:xfrm>
            <a:off x="3889375" y="7434414"/>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Tree>
    <p:extLst>
      <p:ext uri="{BB962C8B-B14F-4D97-AF65-F5344CB8AC3E}">
        <p14:creationId xmlns:p14="http://schemas.microsoft.com/office/powerpoint/2010/main" val="30465832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sclaimer/Last page">
    <p:spTree>
      <p:nvGrpSpPr>
        <p:cNvPr id="1" name=""/>
        <p:cNvGrpSpPr/>
        <p:nvPr/>
      </p:nvGrpSpPr>
      <p:grpSpPr>
        <a:xfrm>
          <a:off x="0" y="0"/>
          <a:ext cx="0" cy="0"/>
          <a:chOff x="0" y="0"/>
          <a:chExt cx="0" cy="0"/>
        </a:xfrm>
      </p:grpSpPr>
      <p:sp>
        <p:nvSpPr>
          <p:cNvPr id="8" name="Picture Placeholder 19"/>
          <p:cNvSpPr>
            <a:spLocks noGrp="1"/>
          </p:cNvSpPr>
          <p:nvPr>
            <p:ph type="pic" sz="quarter" idx="11" hasCustomPrompt="1"/>
            <p:custDataLst>
              <p:tags r:id="rId1"/>
            </p:custDataLst>
          </p:nvPr>
        </p:nvSpPr>
        <p:spPr>
          <a:xfrm>
            <a:off x="2003329" y="1809750"/>
            <a:ext cx="5569045" cy="888682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4683220 w 6307004"/>
              <a:gd name="connsiteY4" fmla="*/ 1819275 h 10696575"/>
              <a:gd name="connsiteX5" fmla="*/ 5632914 w 6307004"/>
              <a:gd name="connsiteY5" fmla="*/ 0 h 10696575"/>
              <a:gd name="connsiteX0" fmla="*/ 5632914 w 6307004"/>
              <a:gd name="connsiteY0" fmla="*/ 0 h 10696575"/>
              <a:gd name="connsiteX1" fmla="*/ 6307004 w 6307004"/>
              <a:gd name="connsiteY1" fmla="*/ 0 h 10696575"/>
              <a:gd name="connsiteX2" fmla="*/ 6292945 w 6307004"/>
              <a:gd name="connsiteY2" fmla="*/ 1809750 h 10696575"/>
              <a:gd name="connsiteX3" fmla="*/ 6307004 w 6307004"/>
              <a:gd name="connsiteY3" fmla="*/ 10696575 h 10696575"/>
              <a:gd name="connsiteX4" fmla="*/ 0 w 6307004"/>
              <a:gd name="connsiteY4" fmla="*/ 10696575 h 10696575"/>
              <a:gd name="connsiteX5" fmla="*/ 4683220 w 6307004"/>
              <a:gd name="connsiteY5" fmla="*/ 1819275 h 10696575"/>
              <a:gd name="connsiteX6" fmla="*/ 5632914 w 6307004"/>
              <a:gd name="connsiteY6" fmla="*/ 0 h 10696575"/>
              <a:gd name="connsiteX0" fmla="*/ 4683220 w 6307004"/>
              <a:gd name="connsiteY0" fmla="*/ 1819275 h 10696575"/>
              <a:gd name="connsiteX1" fmla="*/ 6307004 w 6307004"/>
              <a:gd name="connsiteY1" fmla="*/ 0 h 10696575"/>
              <a:gd name="connsiteX2" fmla="*/ 6292945 w 6307004"/>
              <a:gd name="connsiteY2" fmla="*/ 1809750 h 10696575"/>
              <a:gd name="connsiteX3" fmla="*/ 6307004 w 6307004"/>
              <a:gd name="connsiteY3" fmla="*/ 10696575 h 10696575"/>
              <a:gd name="connsiteX4" fmla="*/ 0 w 6307004"/>
              <a:gd name="connsiteY4" fmla="*/ 10696575 h 10696575"/>
              <a:gd name="connsiteX5" fmla="*/ 4683220 w 6307004"/>
              <a:gd name="connsiteY5" fmla="*/ 1819275 h 10696575"/>
              <a:gd name="connsiteX0" fmla="*/ 4683220 w 6307004"/>
              <a:gd name="connsiteY0" fmla="*/ 9525 h 8886825"/>
              <a:gd name="connsiteX1" fmla="*/ 6292945 w 6307004"/>
              <a:gd name="connsiteY1" fmla="*/ 0 h 8886825"/>
              <a:gd name="connsiteX2" fmla="*/ 6307004 w 6307004"/>
              <a:gd name="connsiteY2" fmla="*/ 8886825 h 8886825"/>
              <a:gd name="connsiteX3" fmla="*/ 0 w 6307004"/>
              <a:gd name="connsiteY3" fmla="*/ 8886825 h 8886825"/>
              <a:gd name="connsiteX4" fmla="*/ 4683220 w 6307004"/>
              <a:gd name="connsiteY4" fmla="*/ 9525 h 8886825"/>
              <a:gd name="connsiteX0" fmla="*/ 4683220 w 6307004"/>
              <a:gd name="connsiteY0" fmla="*/ 9525 h 8886825"/>
              <a:gd name="connsiteX1" fmla="*/ 5569045 w 6307004"/>
              <a:gd name="connsiteY1" fmla="*/ 0 h 8886825"/>
              <a:gd name="connsiteX2" fmla="*/ 6292945 w 6307004"/>
              <a:gd name="connsiteY2" fmla="*/ 0 h 8886825"/>
              <a:gd name="connsiteX3" fmla="*/ 6307004 w 6307004"/>
              <a:gd name="connsiteY3" fmla="*/ 8886825 h 8886825"/>
              <a:gd name="connsiteX4" fmla="*/ 0 w 6307004"/>
              <a:gd name="connsiteY4" fmla="*/ 8886825 h 8886825"/>
              <a:gd name="connsiteX5" fmla="*/ 4683220 w 6307004"/>
              <a:gd name="connsiteY5" fmla="*/ 9525 h 8886825"/>
              <a:gd name="connsiteX0" fmla="*/ 4683220 w 6307004"/>
              <a:gd name="connsiteY0" fmla="*/ 9525 h 8886825"/>
              <a:gd name="connsiteX1" fmla="*/ 5569045 w 6307004"/>
              <a:gd name="connsiteY1" fmla="*/ 0 h 8886825"/>
              <a:gd name="connsiteX2" fmla="*/ 6307004 w 6307004"/>
              <a:gd name="connsiteY2" fmla="*/ 8886825 h 8886825"/>
              <a:gd name="connsiteX3" fmla="*/ 0 w 6307004"/>
              <a:gd name="connsiteY3" fmla="*/ 8886825 h 8886825"/>
              <a:gd name="connsiteX4" fmla="*/ 4683220 w 6307004"/>
              <a:gd name="connsiteY4" fmla="*/ 9525 h 8886825"/>
              <a:gd name="connsiteX0" fmla="*/ 4683220 w 6307004"/>
              <a:gd name="connsiteY0" fmla="*/ 9525 h 8886825"/>
              <a:gd name="connsiteX1" fmla="*/ 5569045 w 6307004"/>
              <a:gd name="connsiteY1" fmla="*/ 0 h 8886825"/>
              <a:gd name="connsiteX2" fmla="*/ 6307004 w 6307004"/>
              <a:gd name="connsiteY2" fmla="*/ 8886825 h 8886825"/>
              <a:gd name="connsiteX3" fmla="*/ 5569045 w 6307004"/>
              <a:gd name="connsiteY3" fmla="*/ 8877300 h 8886825"/>
              <a:gd name="connsiteX4" fmla="*/ 0 w 6307004"/>
              <a:gd name="connsiteY4" fmla="*/ 8886825 h 8886825"/>
              <a:gd name="connsiteX5" fmla="*/ 4683220 w 6307004"/>
              <a:gd name="connsiteY5" fmla="*/ 9525 h 8886825"/>
              <a:gd name="connsiteX0" fmla="*/ 4683220 w 5569045"/>
              <a:gd name="connsiteY0" fmla="*/ 9525 h 8886825"/>
              <a:gd name="connsiteX1" fmla="*/ 5569045 w 5569045"/>
              <a:gd name="connsiteY1" fmla="*/ 0 h 8886825"/>
              <a:gd name="connsiteX2" fmla="*/ 5569045 w 5569045"/>
              <a:gd name="connsiteY2" fmla="*/ 8877300 h 8886825"/>
              <a:gd name="connsiteX3" fmla="*/ 0 w 5569045"/>
              <a:gd name="connsiteY3" fmla="*/ 8886825 h 8886825"/>
              <a:gd name="connsiteX4" fmla="*/ 4683220 w 5569045"/>
              <a:gd name="connsiteY4" fmla="*/ 9525 h 8886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045" h="8886825">
                <a:moveTo>
                  <a:pt x="4683220" y="9525"/>
                </a:moveTo>
                <a:lnTo>
                  <a:pt x="5569045" y="0"/>
                </a:lnTo>
                <a:lnTo>
                  <a:pt x="5569045" y="8877300"/>
                </a:lnTo>
                <a:lnTo>
                  <a:pt x="0" y="8886825"/>
                </a:lnTo>
                <a:lnTo>
                  <a:pt x="4683220" y="9525"/>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6" name="Freeform 15"/>
          <p:cNvSpPr/>
          <p:nvPr userDrawn="1"/>
        </p:nvSpPr>
        <p:spPr>
          <a:xfrm>
            <a:off x="0" y="1809750"/>
            <a:ext cx="6708775" cy="8875713"/>
          </a:xfrm>
          <a:custGeom>
            <a:avLst/>
            <a:gdLst>
              <a:gd name="connsiteX0" fmla="*/ 0 w 6708775"/>
              <a:gd name="connsiteY0" fmla="*/ 0 h 8875713"/>
              <a:gd name="connsiteX1" fmla="*/ 6708775 w 6708775"/>
              <a:gd name="connsiteY1" fmla="*/ 0 h 8875713"/>
              <a:gd name="connsiteX2" fmla="*/ 2008558 w 6708775"/>
              <a:gd name="connsiteY2" fmla="*/ 8875713 h 8875713"/>
              <a:gd name="connsiteX3" fmla="*/ 0 w 6708775"/>
              <a:gd name="connsiteY3" fmla="*/ 8875713 h 8875713"/>
              <a:gd name="connsiteX4" fmla="*/ 0 w 6708775"/>
              <a:gd name="connsiteY4" fmla="*/ 0 h 8875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8875713">
                <a:moveTo>
                  <a:pt x="0" y="0"/>
                </a:moveTo>
                <a:lnTo>
                  <a:pt x="6708775" y="0"/>
                </a:lnTo>
                <a:lnTo>
                  <a:pt x="2008558" y="8875713"/>
                </a:lnTo>
                <a:lnTo>
                  <a:pt x="0" y="8875713"/>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55193248"/>
              </p:ext>
            </p:extLst>
          </p:nvPr>
        </p:nvGraphicFramePr>
        <p:xfrm>
          <a:off x="1" y="1"/>
          <a:ext cx="131272" cy="247532"/>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31272" cy="2475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3"/>
          <p:cNvSpPr>
            <a:spLocks noGrp="1"/>
          </p:cNvSpPr>
          <p:nvPr>
            <p:ph type="body" sz="quarter" idx="15" hasCustomPrompt="1"/>
            <p:custDataLst>
              <p:tags r:id="rId3"/>
            </p:custDataLst>
          </p:nvPr>
        </p:nvSpPr>
        <p:spPr>
          <a:xfrm>
            <a:off x="684000" y="2916000"/>
            <a:ext cx="1600205" cy="220060"/>
          </a:xfrm>
          <a:prstGeom prst="rect">
            <a:avLst/>
          </a:prstGeom>
        </p:spPr>
        <p:txBody>
          <a:bodyPr lIns="0" tIns="0" rIns="0" bIns="0"/>
          <a:lstStyle>
            <a:lvl1pPr marL="0" indent="0">
              <a:spcBef>
                <a:spcPts val="0"/>
              </a:spcBef>
              <a:spcAft>
                <a:spcPts val="0"/>
              </a:spcAft>
              <a:buNone/>
              <a:defRPr sz="1300" b="0">
                <a:solidFill>
                  <a:schemeClr val="bg1"/>
                </a:solidFill>
                <a:latin typeface="+mn-lt"/>
              </a:defRPr>
            </a:lvl1pPr>
            <a:lvl2pPr marL="0" indent="0">
              <a:spcBef>
                <a:spcPts val="0"/>
              </a:spcBef>
              <a:spcAft>
                <a:spcPts val="0"/>
              </a:spcAft>
              <a:buNone/>
              <a:defRPr sz="1300" b="1">
                <a:solidFill>
                  <a:schemeClr val="bg1"/>
                </a:solidFill>
                <a:latin typeface="+mn-lt"/>
              </a:defRPr>
            </a:lvl2pPr>
            <a:lvl3pPr>
              <a:spcAft>
                <a:spcPts val="0"/>
              </a:spcAft>
              <a:buNone/>
              <a:defRPr sz="1300" b="1">
                <a:solidFill>
                  <a:schemeClr val="bg1"/>
                </a:solidFill>
                <a:latin typeface="+mn-lt"/>
              </a:defRPr>
            </a:lvl3pPr>
            <a:lvl4pPr>
              <a:buNone/>
              <a:defRPr sz="1200">
                <a:solidFill>
                  <a:schemeClr val="accent6"/>
                </a:solidFill>
              </a:defRPr>
            </a:lvl4pPr>
            <a:lvl5pPr>
              <a:buNone/>
              <a:defRPr sz="1200">
                <a:solidFill>
                  <a:schemeClr val="accent6"/>
                </a:solidFill>
              </a:defRPr>
            </a:lvl5pPr>
          </a:lstStyle>
          <a:p>
            <a:pPr lvl="0"/>
            <a:r>
              <a:rPr lang="en-US" dirty="0"/>
              <a:t>Broker contact details</a:t>
            </a:r>
          </a:p>
        </p:txBody>
      </p:sp>
      <p:sp>
        <p:nvSpPr>
          <p:cNvPr id="14" name="Text Placeholder 13"/>
          <p:cNvSpPr>
            <a:spLocks noGrp="1"/>
          </p:cNvSpPr>
          <p:nvPr>
            <p:ph type="body" sz="quarter" idx="14" hasCustomPrompt="1"/>
            <p:custDataLst>
              <p:tags r:id="rId4"/>
            </p:custDataLst>
          </p:nvPr>
        </p:nvSpPr>
        <p:spPr>
          <a:xfrm>
            <a:off x="701676" y="5468295"/>
            <a:ext cx="2978150" cy="381643"/>
          </a:xfrm>
          <a:prstGeom prst="rect">
            <a:avLst/>
          </a:prstGeom>
        </p:spPr>
        <p:txBody>
          <a:bodyPr lIns="0" tIns="0" rIns="0" bIns="0" anchor="b" anchorCtr="0"/>
          <a:lstStyle>
            <a:lvl1pPr marL="0" indent="0">
              <a:spcBef>
                <a:spcPts val="0"/>
              </a:spcBef>
              <a:spcAft>
                <a:spcPts val="600"/>
              </a:spcAft>
              <a:buNone/>
              <a:defRPr sz="900" b="0">
                <a:solidFill>
                  <a:schemeClr val="bg1"/>
                </a:solidFill>
              </a:defRPr>
            </a:lvl1pPr>
            <a:lvl2pPr marL="0" indent="0">
              <a:spcBef>
                <a:spcPts val="0"/>
              </a:spcBef>
              <a:spcAft>
                <a:spcPts val="100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 </a:t>
            </a:r>
            <a:r>
              <a:rPr lang="en-US" dirty="0" err="1"/>
              <a:t>xxxx</a:t>
            </a:r>
            <a:endParaRPr lang="en-US" dirty="0"/>
          </a:p>
          <a:p>
            <a:pPr lvl="0"/>
            <a:r>
              <a:rPr lang="en-US" dirty="0"/>
              <a:t>Disclaimer information here</a:t>
            </a:r>
          </a:p>
        </p:txBody>
      </p:sp>
      <p:sp>
        <p:nvSpPr>
          <p:cNvPr id="15" name="Text Placeholder 13"/>
          <p:cNvSpPr>
            <a:spLocks noGrp="1"/>
          </p:cNvSpPr>
          <p:nvPr>
            <p:ph type="body" sz="quarter" idx="17" hasCustomPrompt="1"/>
            <p:custDataLst>
              <p:tags r:id="rId5"/>
            </p:custDataLst>
          </p:nvPr>
        </p:nvSpPr>
        <p:spPr>
          <a:xfrm>
            <a:off x="2811463" y="2916000"/>
            <a:ext cx="1600205" cy="220060"/>
          </a:xfrm>
          <a:prstGeom prst="rect">
            <a:avLst/>
          </a:prstGeom>
        </p:spPr>
        <p:txBody>
          <a:bodyPr lIns="0" tIns="0" rIns="0" bIns="0"/>
          <a:lstStyle>
            <a:lvl1pPr marL="0" indent="0">
              <a:spcBef>
                <a:spcPts val="0"/>
              </a:spcBef>
              <a:spcAft>
                <a:spcPts val="0"/>
              </a:spcAft>
              <a:buNone/>
              <a:defRPr sz="1300" b="0">
                <a:solidFill>
                  <a:schemeClr val="bg1"/>
                </a:solidFill>
                <a:latin typeface="+mn-lt"/>
              </a:defRPr>
            </a:lvl1pPr>
            <a:lvl2pPr marL="0" indent="0">
              <a:spcBef>
                <a:spcPts val="0"/>
              </a:spcBef>
              <a:spcAft>
                <a:spcPts val="0"/>
              </a:spcAft>
              <a:buNone/>
              <a:defRPr sz="1300" b="1">
                <a:solidFill>
                  <a:schemeClr val="bg1"/>
                </a:solidFill>
                <a:latin typeface="+mn-lt"/>
              </a:defRPr>
            </a:lvl2pPr>
            <a:lvl3pPr>
              <a:spcAft>
                <a:spcPts val="0"/>
              </a:spcAft>
              <a:buNone/>
              <a:defRPr sz="1300" b="1">
                <a:solidFill>
                  <a:schemeClr val="bg1"/>
                </a:solidFill>
                <a:latin typeface="+mn-lt"/>
              </a:defRPr>
            </a:lvl3pPr>
            <a:lvl4pPr>
              <a:buNone/>
              <a:defRPr sz="1200">
                <a:solidFill>
                  <a:schemeClr val="accent6"/>
                </a:solidFill>
              </a:defRPr>
            </a:lvl4pPr>
            <a:lvl5pPr>
              <a:buNone/>
              <a:defRPr sz="1200">
                <a:solidFill>
                  <a:schemeClr val="accent6"/>
                </a:solidFill>
              </a:defRPr>
            </a:lvl5pPr>
          </a:lstStyle>
          <a:p>
            <a:pPr lvl="0"/>
            <a:r>
              <a:rPr lang="en-US" dirty="0"/>
              <a:t>Broker contact details </a:t>
            </a:r>
          </a:p>
        </p:txBody>
      </p: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7102" y="760253"/>
            <a:ext cx="1394551" cy="408522"/>
          </a:xfrm>
          <a:prstGeom prst="rect">
            <a:avLst/>
          </a:prstGeom>
        </p:spPr>
      </p:pic>
    </p:spTree>
    <p:extLst>
      <p:ext uri="{BB962C8B-B14F-4D97-AF65-F5344CB8AC3E}">
        <p14:creationId xmlns:p14="http://schemas.microsoft.com/office/powerpoint/2010/main" val="14396006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On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320630383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7688"/>
            <a:ext cx="3855810" cy="369332"/>
          </a:xfrm>
          <a:prstGeom prst="rect">
            <a:avLst/>
          </a:prstGeom>
        </p:spPr>
        <p:txBody>
          <a:bodyPr wrap="square" anchor="t" anchorCtr="0">
            <a:spAutoFit/>
          </a:bodyPr>
          <a:lstStyle>
            <a:lvl1pPr algn="l">
              <a:defRPr>
                <a:solidFill>
                  <a:schemeClr val="accent1"/>
                </a:solidFill>
              </a:defRPr>
            </a:lvl1pPr>
          </a:lstStyle>
          <a:p>
            <a:r>
              <a:rPr lang="en-US" dirty="0"/>
              <a:t>Agenda</a:t>
            </a:r>
            <a:endParaRPr lang="en-GB" dirty="0"/>
          </a:p>
        </p:txBody>
      </p:sp>
      <p:sp>
        <p:nvSpPr>
          <p:cNvPr id="3" name="Subtitle 2"/>
          <p:cNvSpPr>
            <a:spLocks noGrp="1"/>
          </p:cNvSpPr>
          <p:nvPr>
            <p:ph type="subTitle" idx="1" hasCustomPrompt="1"/>
            <p:custDataLst>
              <p:tags r:id="rId3"/>
            </p:custDataLst>
          </p:nvPr>
        </p:nvSpPr>
        <p:spPr>
          <a:xfrm>
            <a:off x="684213" y="2363602"/>
            <a:ext cx="3855810" cy="483209"/>
          </a:xfrm>
          <a:prstGeom prst="rect">
            <a:avLst/>
          </a:prstGeom>
        </p:spPr>
        <p:txBody>
          <a:bodyPr/>
          <a:lstStyle>
            <a:lvl1pPr marL="0" marR="0" indent="0" algn="l" defTabSz="995690" rtl="0" eaLnBrk="1" fontAlgn="auto" latinLnBrk="0" hangingPunct="1">
              <a:lnSpc>
                <a:spcPct val="110000"/>
              </a:lnSpc>
              <a:spcBef>
                <a:spcPts val="0"/>
              </a:spcBef>
              <a:spcAft>
                <a:spcPts val="600"/>
              </a:spcAft>
              <a:buClrTx/>
              <a:buSzTx/>
              <a:buFont typeface="Arial" panose="020B0604020202020204" pitchFamily="34" charset="0"/>
              <a:buNone/>
              <a:tabLst/>
              <a:defRPr sz="1200" b="0" baseline="0">
                <a:solidFill>
                  <a:schemeClr val="tx1"/>
                </a:solidFill>
                <a:latin typeface="+mn-lt"/>
              </a:defRPr>
            </a:lvl1pPr>
            <a:lvl2pPr marL="177800" indent="-177800" algn="l">
              <a:buFont typeface="Arial" panose="020B0604020202020204" pitchFamily="34" charset="0"/>
              <a:buChar char="•"/>
              <a:defRPr sz="1200">
                <a:solidFill>
                  <a:schemeClr val="tx1"/>
                </a:solidFill>
                <a:latin typeface="+mn-lt"/>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ontents list</a:t>
            </a:r>
          </a:p>
          <a:p>
            <a:pPr lvl="1"/>
            <a:r>
              <a:rPr lang="en-US" dirty="0"/>
              <a:t>Bullet 1</a:t>
            </a:r>
          </a:p>
        </p:txBody>
      </p:sp>
      <p:sp>
        <p:nvSpPr>
          <p:cNvPr id="9" name="Freeform 89"/>
          <p:cNvSpPr>
            <a:spLocks/>
          </p:cNvSpPr>
          <p:nvPr userDrawn="1"/>
        </p:nvSpPr>
        <p:spPr bwMode="auto">
          <a:xfrm>
            <a:off x="957262" y="1828799"/>
            <a:ext cx="6604001" cy="8864601"/>
          </a:xfrm>
          <a:custGeom>
            <a:avLst/>
            <a:gdLst>
              <a:gd name="T0" fmla="*/ 4160 w 4160"/>
              <a:gd name="T1" fmla="*/ 0 h 5584"/>
              <a:gd name="T2" fmla="*/ 2937 w 4160"/>
              <a:gd name="T3" fmla="*/ 0 h 5584"/>
              <a:gd name="T4" fmla="*/ 0 w 4160"/>
              <a:gd name="T5" fmla="*/ 5584 h 5584"/>
              <a:gd name="T6" fmla="*/ 4160 w 4160"/>
              <a:gd name="T7" fmla="*/ 5584 h 5584"/>
              <a:gd name="T8" fmla="*/ 4160 w 4160"/>
              <a:gd name="T9" fmla="*/ 0 h 5584"/>
            </a:gdLst>
            <a:ahLst/>
            <a:cxnLst>
              <a:cxn ang="0">
                <a:pos x="T0" y="T1"/>
              </a:cxn>
              <a:cxn ang="0">
                <a:pos x="T2" y="T3"/>
              </a:cxn>
              <a:cxn ang="0">
                <a:pos x="T4" y="T5"/>
              </a:cxn>
              <a:cxn ang="0">
                <a:pos x="T6" y="T7"/>
              </a:cxn>
              <a:cxn ang="0">
                <a:pos x="T8" y="T9"/>
              </a:cxn>
            </a:cxnLst>
            <a:rect l="0" t="0" r="r" b="b"/>
            <a:pathLst>
              <a:path w="4160" h="5584">
                <a:moveTo>
                  <a:pt x="4160" y="0"/>
                </a:moveTo>
                <a:lnTo>
                  <a:pt x="2937" y="0"/>
                </a:lnTo>
                <a:lnTo>
                  <a:pt x="0" y="5584"/>
                </a:lnTo>
                <a:lnTo>
                  <a:pt x="4160" y="5584"/>
                </a:lnTo>
                <a:lnTo>
                  <a:pt x="4160" y="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3808857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Tw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422255201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7688"/>
            <a:ext cx="3855810" cy="369332"/>
          </a:xfrm>
          <a:prstGeom prst="rect">
            <a:avLst/>
          </a:prstGeom>
        </p:spPr>
        <p:txBody>
          <a:bodyPr wrap="square" anchor="t" anchorCtr="0">
            <a:spAutoFit/>
          </a:bodyPr>
          <a:lstStyle>
            <a:lvl1pPr algn="l">
              <a:defRPr>
                <a:solidFill>
                  <a:schemeClr val="accent1"/>
                </a:solidFill>
              </a:defRPr>
            </a:lvl1pPr>
          </a:lstStyle>
          <a:p>
            <a:r>
              <a:rPr lang="en-US" dirty="0"/>
              <a:t>Agenda</a:t>
            </a:r>
            <a:endParaRPr lang="en-GB" dirty="0"/>
          </a:p>
        </p:txBody>
      </p:sp>
      <p:sp>
        <p:nvSpPr>
          <p:cNvPr id="3" name="Subtitle 2"/>
          <p:cNvSpPr>
            <a:spLocks noGrp="1"/>
          </p:cNvSpPr>
          <p:nvPr>
            <p:ph type="subTitle" idx="1" hasCustomPrompt="1"/>
            <p:custDataLst>
              <p:tags r:id="rId3"/>
            </p:custDataLst>
          </p:nvPr>
        </p:nvSpPr>
        <p:spPr>
          <a:xfrm>
            <a:off x="684213" y="2363602"/>
            <a:ext cx="3855810" cy="483209"/>
          </a:xfrm>
          <a:prstGeom prst="rect">
            <a:avLst/>
          </a:prstGeom>
        </p:spPr>
        <p:txBody>
          <a:bodyPr/>
          <a:lstStyle>
            <a:lvl1pPr marL="0" marR="0" indent="0" algn="l" defTabSz="995690" rtl="0" eaLnBrk="1" fontAlgn="auto" latinLnBrk="0" hangingPunct="1">
              <a:lnSpc>
                <a:spcPct val="110000"/>
              </a:lnSpc>
              <a:spcBef>
                <a:spcPts val="0"/>
              </a:spcBef>
              <a:spcAft>
                <a:spcPts val="600"/>
              </a:spcAft>
              <a:buClrTx/>
              <a:buSzTx/>
              <a:buFont typeface="Arial" panose="020B0604020202020204" pitchFamily="34" charset="0"/>
              <a:buNone/>
              <a:tabLst/>
              <a:defRPr sz="1200" b="0" baseline="0">
                <a:solidFill>
                  <a:schemeClr val="tx1"/>
                </a:solidFill>
                <a:latin typeface="+mn-lt"/>
              </a:defRPr>
            </a:lvl1pPr>
            <a:lvl2pPr marL="177800" indent="-177800" algn="l">
              <a:buFont typeface="Arial" panose="020B0604020202020204" pitchFamily="34" charset="0"/>
              <a:buChar char="•"/>
              <a:defRPr sz="1200">
                <a:solidFill>
                  <a:schemeClr val="tx1"/>
                </a:solidFill>
                <a:latin typeface="+mn-lt"/>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ontents list</a:t>
            </a:r>
          </a:p>
          <a:p>
            <a:pPr lvl="1"/>
            <a:r>
              <a:rPr lang="en-US" dirty="0"/>
              <a:t>Bullet 1</a:t>
            </a:r>
          </a:p>
        </p:txBody>
      </p:sp>
      <p:sp>
        <p:nvSpPr>
          <p:cNvPr id="11" name="Picture Placeholder 18"/>
          <p:cNvSpPr>
            <a:spLocks noGrp="1"/>
          </p:cNvSpPr>
          <p:nvPr>
            <p:ph type="pic" sz="quarter" idx="12" hasCustomPrompt="1"/>
          </p:nvPr>
        </p:nvSpPr>
        <p:spPr>
          <a:xfrm>
            <a:off x="949325" y="6402387"/>
            <a:ext cx="6621350" cy="4291014"/>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5350"/>
              <a:gd name="connsiteY0" fmla="*/ 0 h 2452548"/>
              <a:gd name="connsiteX1" fmla="*/ 3790798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84982"/>
              <a:gd name="connsiteY0" fmla="*/ 0 h 2452548"/>
              <a:gd name="connsiteX1" fmla="*/ 3779910 w 3784982"/>
              <a:gd name="connsiteY1" fmla="*/ 0 h 2452548"/>
              <a:gd name="connsiteX2" fmla="*/ 3784462 w 3784982"/>
              <a:gd name="connsiteY2" fmla="*/ 2452548 h 2452548"/>
              <a:gd name="connsiteX3" fmla="*/ 0 w 3784982"/>
              <a:gd name="connsiteY3" fmla="*/ 2452548 h 2452548"/>
              <a:gd name="connsiteX4" fmla="*/ 1292731 w 3784982"/>
              <a:gd name="connsiteY4" fmla="*/ 0 h 2452548"/>
              <a:gd name="connsiteX0" fmla="*/ 1292731 w 3784462"/>
              <a:gd name="connsiteY0" fmla="*/ 0 h 2452548"/>
              <a:gd name="connsiteX1" fmla="*/ 3779910 w 3784462"/>
              <a:gd name="connsiteY1" fmla="*/ 0 h 2452548"/>
              <a:gd name="connsiteX2" fmla="*/ 3784462 w 3784462"/>
              <a:gd name="connsiteY2" fmla="*/ 2452548 h 2452548"/>
              <a:gd name="connsiteX3" fmla="*/ 0 w 3784462"/>
              <a:gd name="connsiteY3" fmla="*/ 2452548 h 2452548"/>
              <a:gd name="connsiteX4" fmla="*/ 1292731 w 3784462"/>
              <a:gd name="connsiteY4" fmla="*/ 0 h 245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462" h="2452548">
                <a:moveTo>
                  <a:pt x="1292731" y="0"/>
                </a:moveTo>
                <a:lnTo>
                  <a:pt x="3779910" y="0"/>
                </a:lnTo>
                <a:cubicBezTo>
                  <a:pt x="3787630" y="1226274"/>
                  <a:pt x="3782186" y="1226274"/>
                  <a:pt x="3784462" y="2452548"/>
                </a:cubicBezTo>
                <a:lnTo>
                  <a:pt x="0" y="2452548"/>
                </a:lnTo>
                <a:lnTo>
                  <a:pt x="1292731" y="0"/>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dd picture0</a:t>
            </a:r>
            <a:endParaRPr lang="en-GB" dirty="0"/>
          </a:p>
        </p:txBody>
      </p:sp>
      <p:sp>
        <p:nvSpPr>
          <p:cNvPr id="13" name="Freeform 5"/>
          <p:cNvSpPr>
            <a:spLocks/>
          </p:cNvSpPr>
          <p:nvPr userDrawn="1"/>
        </p:nvSpPr>
        <p:spPr bwMode="auto">
          <a:xfrm>
            <a:off x="3287713" y="1828799"/>
            <a:ext cx="4273550" cy="4430713"/>
          </a:xfrm>
          <a:custGeom>
            <a:avLst/>
            <a:gdLst>
              <a:gd name="T0" fmla="*/ 2692 w 2692"/>
              <a:gd name="T1" fmla="*/ 2791 h 2791"/>
              <a:gd name="T2" fmla="*/ 2692 w 2692"/>
              <a:gd name="T3" fmla="*/ 0 h 2791"/>
              <a:gd name="T4" fmla="*/ 1469 w 2692"/>
              <a:gd name="T5" fmla="*/ 0 h 2791"/>
              <a:gd name="T6" fmla="*/ 0 w 2692"/>
              <a:gd name="T7" fmla="*/ 2791 h 2791"/>
              <a:gd name="T8" fmla="*/ 2692 w 2692"/>
              <a:gd name="T9" fmla="*/ 2791 h 2791"/>
            </a:gdLst>
            <a:ahLst/>
            <a:cxnLst>
              <a:cxn ang="0">
                <a:pos x="T0" y="T1"/>
              </a:cxn>
              <a:cxn ang="0">
                <a:pos x="T2" y="T3"/>
              </a:cxn>
              <a:cxn ang="0">
                <a:pos x="T4" y="T5"/>
              </a:cxn>
              <a:cxn ang="0">
                <a:pos x="T6" y="T7"/>
              </a:cxn>
              <a:cxn ang="0">
                <a:pos x="T8" y="T9"/>
              </a:cxn>
            </a:cxnLst>
            <a:rect l="0" t="0" r="r" b="b"/>
            <a:pathLst>
              <a:path w="2692" h="2791">
                <a:moveTo>
                  <a:pt x="2692" y="2791"/>
                </a:moveTo>
                <a:lnTo>
                  <a:pt x="2692" y="0"/>
                </a:lnTo>
                <a:lnTo>
                  <a:pt x="1469" y="0"/>
                </a:lnTo>
                <a:lnTo>
                  <a:pt x="0" y="2791"/>
                </a:lnTo>
                <a:lnTo>
                  <a:pt x="2692" y="2791"/>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3779784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On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custDataLst>
              <p:tags r:id="rId1"/>
            </p:custDataLst>
          </p:nvPr>
        </p:nvPicPr>
        <p:blipFill rotWithShape="1">
          <a:blip r:embed="rId6">
            <a:extLst>
              <a:ext uri="{28A0092B-C50C-407E-A947-70E740481C1C}">
                <a14:useLocalDpi xmlns:a14="http://schemas.microsoft.com/office/drawing/2010/main" val="0"/>
              </a:ext>
            </a:extLst>
          </a:blip>
          <a:srcRect l="32181" t="1188" r="-12710" b="118"/>
          <a:stretch/>
        </p:blipFill>
        <p:spPr>
          <a:xfrm>
            <a:off x="925" y="1835150"/>
            <a:ext cx="7556898" cy="8855076"/>
          </a:xfrm>
          <a:prstGeom prst="rect">
            <a:avLst/>
          </a:prstGeom>
          <a:noFill/>
          <a:ln>
            <a:noFill/>
          </a:ln>
        </p:spPr>
      </p:pic>
      <p:sp>
        <p:nvSpPr>
          <p:cNvPr id="12" name="Freeform 278"/>
          <p:cNvSpPr>
            <a:spLocks/>
          </p:cNvSpPr>
          <p:nvPr userDrawn="1"/>
        </p:nvSpPr>
        <p:spPr bwMode="auto">
          <a:xfrm>
            <a:off x="252413" y="1835150"/>
            <a:ext cx="7308850" cy="8858251"/>
          </a:xfrm>
          <a:custGeom>
            <a:avLst/>
            <a:gdLst>
              <a:gd name="T0" fmla="*/ 4604 w 4604"/>
              <a:gd name="T1" fmla="*/ 5580 h 5580"/>
              <a:gd name="T2" fmla="*/ 4604 w 4604"/>
              <a:gd name="T3" fmla="*/ 0 h 5580"/>
              <a:gd name="T4" fmla="*/ 2937 w 4604"/>
              <a:gd name="T5" fmla="*/ 0 h 5580"/>
              <a:gd name="T6" fmla="*/ 0 w 4604"/>
              <a:gd name="T7" fmla="*/ 5580 h 5580"/>
              <a:gd name="T8" fmla="*/ 4604 w 4604"/>
              <a:gd name="T9" fmla="*/ 5580 h 5580"/>
            </a:gdLst>
            <a:ahLst/>
            <a:cxnLst>
              <a:cxn ang="0">
                <a:pos x="T0" y="T1"/>
              </a:cxn>
              <a:cxn ang="0">
                <a:pos x="T2" y="T3"/>
              </a:cxn>
              <a:cxn ang="0">
                <a:pos x="T4" y="T5"/>
              </a:cxn>
              <a:cxn ang="0">
                <a:pos x="T6" y="T7"/>
              </a:cxn>
              <a:cxn ang="0">
                <a:pos x="T8" y="T9"/>
              </a:cxn>
            </a:cxnLst>
            <a:rect l="0" t="0" r="r" b="b"/>
            <a:pathLst>
              <a:path w="4604" h="5580">
                <a:moveTo>
                  <a:pt x="4604" y="5580"/>
                </a:moveTo>
                <a:lnTo>
                  <a:pt x="4604" y="0"/>
                </a:lnTo>
                <a:lnTo>
                  <a:pt x="2937" y="0"/>
                </a:lnTo>
                <a:lnTo>
                  <a:pt x="0" y="5580"/>
                </a:lnTo>
                <a:lnTo>
                  <a:pt x="4604"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63995850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4776787" y="4479877"/>
            <a:ext cx="2136776" cy="984885"/>
          </a:xfrm>
          <a:prstGeom prst="rect">
            <a:avLst/>
          </a:prstGeom>
        </p:spPr>
        <p:txBody>
          <a:bodyPr wrap="square" anchor="b" anchorCtr="0">
            <a:spAutoFit/>
          </a:bodyPr>
          <a:lstStyle>
            <a:lvl1pPr algn="r">
              <a:defRPr sz="3200" baseline="0">
                <a:solidFill>
                  <a:schemeClr val="bg1"/>
                </a:solidFill>
              </a:defRPr>
            </a:lvl1pPr>
          </a:lstStyle>
          <a:p>
            <a:r>
              <a:rPr lang="en-US" dirty="0"/>
              <a:t>Section headline</a:t>
            </a:r>
            <a:endParaRPr lang="en-GB" dirty="0"/>
          </a:p>
        </p:txBody>
      </p:sp>
      <p:sp>
        <p:nvSpPr>
          <p:cNvPr id="3" name="Subtitle 2"/>
          <p:cNvSpPr>
            <a:spLocks noGrp="1"/>
          </p:cNvSpPr>
          <p:nvPr>
            <p:ph type="subTitle" idx="1" hasCustomPrompt="1"/>
            <p:custDataLst>
              <p:tags r:id="rId4"/>
            </p:custDataLst>
          </p:nvPr>
        </p:nvSpPr>
        <p:spPr>
          <a:xfrm>
            <a:off x="3922713" y="5820002"/>
            <a:ext cx="2990850" cy="246221"/>
          </a:xfrm>
          <a:prstGeom prst="rect">
            <a:avLst/>
          </a:prstGeom>
        </p:spPr>
        <p:txBody>
          <a:bodyPr/>
          <a:lstStyle>
            <a:lvl1pPr marL="0" marR="0" indent="0" algn="r" defTabSz="995690" rtl="0" eaLnBrk="1" fontAlgn="auto" latinLnBrk="0" hangingPunct="1">
              <a:lnSpc>
                <a:spcPct val="100000"/>
              </a:lnSpc>
              <a:spcBef>
                <a:spcPts val="0"/>
              </a:spcBef>
              <a:spcAft>
                <a:spcPts val="600"/>
              </a:spcAft>
              <a:buClrTx/>
              <a:buSzTx/>
              <a:buFont typeface="Arial" panose="020B0604020202020204" pitchFamily="34" charset="0"/>
              <a:buNone/>
              <a:tabLst/>
              <a:defRPr sz="1600" b="0">
                <a:solidFill>
                  <a:schemeClr val="bg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6611803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Tw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3271869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6099"/>
            <a:ext cx="3168652" cy="492443"/>
          </a:xfrm>
          <a:prstGeom prst="rect">
            <a:avLst/>
          </a:prstGeom>
        </p:spPr>
        <p:txBody>
          <a:bodyPr wrap="square" anchor="b" anchorCtr="0">
            <a:spAutoFit/>
          </a:bodyPr>
          <a:lstStyle>
            <a:lvl1pPr algn="l">
              <a:defRPr sz="3200" baseline="0">
                <a:solidFill>
                  <a:schemeClr val="accent1"/>
                </a:solidFill>
              </a:defRPr>
            </a:lvl1pPr>
          </a:lstStyle>
          <a:p>
            <a:r>
              <a:rPr lang="en-US" dirty="0"/>
              <a:t>Section headline</a:t>
            </a:r>
            <a:endParaRPr lang="en-GB" dirty="0"/>
          </a:p>
        </p:txBody>
      </p:sp>
      <p:sp>
        <p:nvSpPr>
          <p:cNvPr id="3" name="Subtitle 2"/>
          <p:cNvSpPr>
            <a:spLocks noGrp="1"/>
          </p:cNvSpPr>
          <p:nvPr>
            <p:ph type="subTitle" idx="1" hasCustomPrompt="1"/>
            <p:custDataLst>
              <p:tags r:id="rId3"/>
            </p:custDataLst>
          </p:nvPr>
        </p:nvSpPr>
        <p:spPr>
          <a:xfrm>
            <a:off x="684213" y="2629707"/>
            <a:ext cx="3168651" cy="150599"/>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6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10" name="Picture Placeholder 18"/>
          <p:cNvSpPr>
            <a:spLocks noGrp="1"/>
          </p:cNvSpPr>
          <p:nvPr>
            <p:ph type="pic" sz="quarter" idx="12" hasCustomPrompt="1"/>
          </p:nvPr>
        </p:nvSpPr>
        <p:spPr>
          <a:xfrm>
            <a:off x="949325" y="6402387"/>
            <a:ext cx="6621350" cy="4291014"/>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5350"/>
              <a:gd name="connsiteY0" fmla="*/ 0 h 2452548"/>
              <a:gd name="connsiteX1" fmla="*/ 3790798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84982"/>
              <a:gd name="connsiteY0" fmla="*/ 0 h 2452548"/>
              <a:gd name="connsiteX1" fmla="*/ 3779910 w 3784982"/>
              <a:gd name="connsiteY1" fmla="*/ 0 h 2452548"/>
              <a:gd name="connsiteX2" fmla="*/ 3784462 w 3784982"/>
              <a:gd name="connsiteY2" fmla="*/ 2452548 h 2452548"/>
              <a:gd name="connsiteX3" fmla="*/ 0 w 3784982"/>
              <a:gd name="connsiteY3" fmla="*/ 2452548 h 2452548"/>
              <a:gd name="connsiteX4" fmla="*/ 1292731 w 3784982"/>
              <a:gd name="connsiteY4" fmla="*/ 0 h 2452548"/>
              <a:gd name="connsiteX0" fmla="*/ 1292731 w 3784462"/>
              <a:gd name="connsiteY0" fmla="*/ 0 h 2452548"/>
              <a:gd name="connsiteX1" fmla="*/ 3779910 w 3784462"/>
              <a:gd name="connsiteY1" fmla="*/ 0 h 2452548"/>
              <a:gd name="connsiteX2" fmla="*/ 3784462 w 3784462"/>
              <a:gd name="connsiteY2" fmla="*/ 2452548 h 2452548"/>
              <a:gd name="connsiteX3" fmla="*/ 0 w 3784462"/>
              <a:gd name="connsiteY3" fmla="*/ 2452548 h 2452548"/>
              <a:gd name="connsiteX4" fmla="*/ 1292731 w 3784462"/>
              <a:gd name="connsiteY4" fmla="*/ 0 h 245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462" h="2452548">
                <a:moveTo>
                  <a:pt x="1292731" y="0"/>
                </a:moveTo>
                <a:lnTo>
                  <a:pt x="3779910" y="0"/>
                </a:lnTo>
                <a:cubicBezTo>
                  <a:pt x="3787630" y="1226274"/>
                  <a:pt x="3782186" y="1226274"/>
                  <a:pt x="3784462" y="2452548"/>
                </a:cubicBezTo>
                <a:lnTo>
                  <a:pt x="0" y="2452548"/>
                </a:lnTo>
                <a:lnTo>
                  <a:pt x="1292731" y="0"/>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dd picture0</a:t>
            </a:r>
            <a:endParaRPr lang="en-GB" dirty="0"/>
          </a:p>
        </p:txBody>
      </p:sp>
      <p:sp>
        <p:nvSpPr>
          <p:cNvPr id="11" name="Freeform 5"/>
          <p:cNvSpPr>
            <a:spLocks/>
          </p:cNvSpPr>
          <p:nvPr userDrawn="1"/>
        </p:nvSpPr>
        <p:spPr bwMode="auto">
          <a:xfrm>
            <a:off x="3287713" y="1828799"/>
            <a:ext cx="4273550" cy="4430713"/>
          </a:xfrm>
          <a:custGeom>
            <a:avLst/>
            <a:gdLst>
              <a:gd name="T0" fmla="*/ 2692 w 2692"/>
              <a:gd name="T1" fmla="*/ 2791 h 2791"/>
              <a:gd name="T2" fmla="*/ 2692 w 2692"/>
              <a:gd name="T3" fmla="*/ 0 h 2791"/>
              <a:gd name="T4" fmla="*/ 1469 w 2692"/>
              <a:gd name="T5" fmla="*/ 0 h 2791"/>
              <a:gd name="T6" fmla="*/ 0 w 2692"/>
              <a:gd name="T7" fmla="*/ 2791 h 2791"/>
              <a:gd name="T8" fmla="*/ 2692 w 2692"/>
              <a:gd name="T9" fmla="*/ 2791 h 2791"/>
            </a:gdLst>
            <a:ahLst/>
            <a:cxnLst>
              <a:cxn ang="0">
                <a:pos x="T0" y="T1"/>
              </a:cxn>
              <a:cxn ang="0">
                <a:pos x="T2" y="T3"/>
              </a:cxn>
              <a:cxn ang="0">
                <a:pos x="T4" y="T5"/>
              </a:cxn>
              <a:cxn ang="0">
                <a:pos x="T6" y="T7"/>
              </a:cxn>
              <a:cxn ang="0">
                <a:pos x="T8" y="T9"/>
              </a:cxn>
            </a:cxnLst>
            <a:rect l="0" t="0" r="r" b="b"/>
            <a:pathLst>
              <a:path w="2692" h="2791">
                <a:moveTo>
                  <a:pt x="2692" y="2791"/>
                </a:moveTo>
                <a:lnTo>
                  <a:pt x="2692" y="0"/>
                </a:lnTo>
                <a:lnTo>
                  <a:pt x="1469" y="0"/>
                </a:lnTo>
                <a:lnTo>
                  <a:pt x="0" y="2791"/>
                </a:lnTo>
                <a:lnTo>
                  <a:pt x="2692" y="2791"/>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9000361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62180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custDataLst>
              <p:tags r:id="rId2"/>
            </p:custDataLst>
          </p:nvPr>
        </p:nvSpPr>
        <p:spPr>
          <a:xfrm>
            <a:off x="683671" y="1817689"/>
            <a:ext cx="6229892"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429707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554847356"/>
      </p:ext>
    </p:extLst>
  </p:cSld>
  <p:clrMapOvr>
    <a:masterClrMapping/>
  </p:clrMapOvr>
  <p:extLst>
    <p:ext uri="{DCECCB84-F9BA-43D5-87BE-67443E8EF086}">
      <p15:sldGuideLst xmlns:p15="http://schemas.microsoft.com/office/powerpoint/2012/main">
        <p15:guide id="2" pos="2313">
          <p15:clr>
            <a:srgbClr val="FBAE40"/>
          </p15:clr>
        </p15:guide>
        <p15:guide id="3" pos="245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35"/>
            </p:custDataLst>
            <p:extLst>
              <p:ext uri="{D42A27DB-BD31-4B8C-83A1-F6EECF244321}">
                <p14:modId xmlns:p14="http://schemas.microsoft.com/office/powerpoint/2010/main" val="94456142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5" name="Object 4" hidden="1"/>
                      <p:cNvPicPr/>
                      <p:nvPr/>
                    </p:nvPicPr>
                    <p:blipFill>
                      <a:blip r:embed="rId37"/>
                      <a:stretch>
                        <a:fillRect/>
                      </a:stretch>
                    </p:blipFill>
                    <p:spPr>
                      <a:xfrm>
                        <a:off x="0" y="0"/>
                        <a:ext cx="112252" cy="224510"/>
                      </a:xfrm>
                      <a:prstGeom prst="rect">
                        <a:avLst/>
                      </a:prstGeom>
                    </p:spPr>
                  </p:pic>
                </p:oleObj>
              </mc:Fallback>
            </mc:AlternateContent>
          </a:graphicData>
        </a:graphic>
      </p:graphicFrame>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698" r:id="rId3"/>
    <p:sldLayoutId id="2147483677" r:id="rId4"/>
    <p:sldLayoutId id="2147483720" r:id="rId5"/>
    <p:sldLayoutId id="2147483678" r:id="rId6"/>
    <p:sldLayoutId id="2147483711" r:id="rId7"/>
    <p:sldLayoutId id="2147483685" r:id="rId8"/>
    <p:sldLayoutId id="2147483656" r:id="rId9"/>
    <p:sldLayoutId id="2147483703" r:id="rId10"/>
    <p:sldLayoutId id="2147483713" r:id="rId11"/>
    <p:sldLayoutId id="2147483714" r:id="rId12"/>
    <p:sldLayoutId id="2147483657" r:id="rId13"/>
    <p:sldLayoutId id="2147483686" r:id="rId14"/>
    <p:sldLayoutId id="2147483688" r:id="rId15"/>
    <p:sldLayoutId id="2147483651" r:id="rId16"/>
    <p:sldLayoutId id="2147483706" r:id="rId17"/>
    <p:sldLayoutId id="2147483681" r:id="rId18"/>
    <p:sldLayoutId id="2147483704" r:id="rId19"/>
    <p:sldLayoutId id="2147483702" r:id="rId20"/>
    <p:sldLayoutId id="2147483723" r:id="rId21"/>
    <p:sldLayoutId id="2147483724" r:id="rId22"/>
    <p:sldLayoutId id="2147483715" r:id="rId23"/>
    <p:sldLayoutId id="2147483716" r:id="rId24"/>
    <p:sldLayoutId id="2147483717" r:id="rId25"/>
    <p:sldLayoutId id="2147483718" r:id="rId26"/>
    <p:sldLayoutId id="2147483708" r:id="rId27"/>
    <p:sldLayoutId id="2147483709" r:id="rId28"/>
    <p:sldLayoutId id="2147483692" r:id="rId29"/>
    <p:sldLayoutId id="2147483695" r:id="rId30"/>
    <p:sldLayoutId id="2147483696" r:id="rId31"/>
    <p:sldLayoutId id="2147483705" r:id="rId32"/>
    <p:sldLayoutId id="2147483690" r:id="rId33"/>
  </p:sldLayoutIdLst>
  <p:hf hdr="0" dt="0"/>
  <p:txStyles>
    <p:titleStyle>
      <a:lvl1pPr algn="l" defTabSz="995690" rtl="0" eaLnBrk="1" latinLnBrk="0" hangingPunct="1">
        <a:spcBef>
          <a:spcPct val="0"/>
        </a:spcBef>
        <a:buNone/>
        <a:defRPr sz="2400" b="0" kern="1200" baseline="0">
          <a:solidFill>
            <a:schemeClr val="accent6"/>
          </a:solidFill>
          <a:latin typeface="+mj-lt"/>
          <a:ea typeface="+mj-ea"/>
          <a:cs typeface="+mj-cs"/>
        </a:defRPr>
      </a:lvl1pPr>
    </p:titleStyle>
    <p:body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0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p:bodyStyle>
    <p:otherStyle>
      <a:defPPr>
        <a:defRPr lang="en-US"/>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6407">
          <p15:clr>
            <a:srgbClr val="F26B43"/>
          </p15:clr>
        </p15:guide>
        <p15:guide id="23" orient="horz" pos="1145">
          <p15:clr>
            <a:srgbClr val="F26B43"/>
          </p15:clr>
        </p15:guide>
        <p15:guide id="24" pos="431">
          <p15:clr>
            <a:srgbClr val="F26B43"/>
          </p15:clr>
        </p15:guide>
        <p15:guide id="25" pos="435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xml"/><Relationship Id="rId7" Type="http://schemas.openxmlformats.org/officeDocument/2006/relationships/image" Target="../media/image10.jpg"/><Relationship Id="rId2" Type="http://schemas.openxmlformats.org/officeDocument/2006/relationships/slideLayout" Target="../slideLayouts/slideLayout3.xml"/><Relationship Id="rId1" Type="http://schemas.openxmlformats.org/officeDocument/2006/relationships/tags" Target="../tags/tag161.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7.bin"/><Relationship Id="rId9" Type="http://schemas.openxmlformats.org/officeDocument/2006/relationships/hyperlink" Target="mailto:Peter.love@cushwake.co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notesSlide" Target="../notesSlides/notesSlide2.xml"/><Relationship Id="rId7" Type="http://schemas.openxmlformats.org/officeDocument/2006/relationships/image" Target="../media/image12.jpg"/><Relationship Id="rId2" Type="http://schemas.openxmlformats.org/officeDocument/2006/relationships/slideLayout" Target="../slideLayouts/slideLayout3.xml"/><Relationship Id="rId1" Type="http://schemas.openxmlformats.org/officeDocument/2006/relationships/tags" Target="../tags/tag162.xml"/><Relationship Id="rId6"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15.jpg"/><Relationship Id="rId4" Type="http://schemas.openxmlformats.org/officeDocument/2006/relationships/oleObject" Target="../embeddings/oleObject28.bin"/><Relationship Id="rId9" Type="http://schemas.openxmlformats.org/officeDocument/2006/relationships/image" Target="../media/image14.jp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85503" y="3185652"/>
            <a:ext cx="1578078" cy="1120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graphicFrame>
        <p:nvGraphicFramePr>
          <p:cNvPr id="2" name="Object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126169" y="6068035"/>
            <a:ext cx="2146742" cy="338554"/>
          </a:xfrm>
          <a:prstGeom prst="rect">
            <a:avLst/>
          </a:prstGeom>
        </p:spPr>
        <p:txBody>
          <a:bodyPr wrap="none">
            <a:spAutoFit/>
          </a:bodyPr>
          <a:lstStyle/>
          <a:p>
            <a:r>
              <a:rPr lang="en-US" sz="1600" b="1" dirty="0">
                <a:solidFill>
                  <a:schemeClr val="tx2"/>
                </a:solidFill>
              </a:rPr>
              <a:t>Property Highlights </a:t>
            </a:r>
          </a:p>
        </p:txBody>
      </p:sp>
      <p:sp>
        <p:nvSpPr>
          <p:cNvPr id="7" name="Rectangle 6"/>
          <p:cNvSpPr/>
          <p:nvPr/>
        </p:nvSpPr>
        <p:spPr>
          <a:xfrm>
            <a:off x="4569993" y="6037276"/>
            <a:ext cx="947695" cy="338554"/>
          </a:xfrm>
          <a:prstGeom prst="rect">
            <a:avLst/>
          </a:prstGeom>
        </p:spPr>
        <p:txBody>
          <a:bodyPr wrap="none">
            <a:spAutoFit/>
          </a:bodyPr>
          <a:lstStyle/>
          <a:p>
            <a:r>
              <a:rPr lang="en-US" sz="1600" b="1" dirty="0">
                <a:solidFill>
                  <a:schemeClr val="tx2"/>
                </a:solidFill>
              </a:rPr>
              <a:t>Contact</a:t>
            </a:r>
            <a:endParaRPr lang="en-US" sz="1400" b="1" dirty="0">
              <a:solidFill>
                <a:schemeClr val="tx2"/>
              </a:solidFill>
            </a:endParaRPr>
          </a:p>
        </p:txBody>
      </p:sp>
      <p:sp>
        <p:nvSpPr>
          <p:cNvPr id="8" name="TextBox 7"/>
          <p:cNvSpPr txBox="1"/>
          <p:nvPr/>
        </p:nvSpPr>
        <p:spPr>
          <a:xfrm>
            <a:off x="239534" y="6516622"/>
            <a:ext cx="4227535" cy="1261884"/>
          </a:xfrm>
          <a:prstGeom prst="rect">
            <a:avLst/>
          </a:prstGeom>
          <a:noFill/>
          <a:ln>
            <a:noFill/>
          </a:ln>
          <a:effectLst/>
        </p:spPr>
        <p:txBody>
          <a:bodyPr vert="horz" wrap="square" lIns="0" tIns="0" rIns="0" bIns="0" rtlCol="0">
            <a:spAutoFit/>
          </a:bodyPr>
          <a:lstStyle/>
          <a:p>
            <a:pPr marL="342900" lvl="0" indent="-342900">
              <a:spcAft>
                <a:spcPts val="0"/>
              </a:spcAft>
              <a:buFont typeface="Symbol" panose="05050102010706020507" pitchFamily="18" charset="2"/>
              <a:buChar char=""/>
              <a:tabLst>
                <a:tab pos="457200" algn="l"/>
              </a:tabLst>
            </a:pPr>
            <a:r>
              <a:rPr lang="en-US" sz="1200" dirty="0">
                <a:ea typeface="Calibri" panose="020F0502020204030204" pitchFamily="34" charset="0"/>
              </a:rPr>
              <a:t>Excellent retail opportunity located in Nutgrove Shopping Centre, Dublin 14.</a:t>
            </a:r>
          </a:p>
          <a:p>
            <a:pPr marL="342900" lvl="0" indent="-342900">
              <a:spcAft>
                <a:spcPts val="0"/>
              </a:spcAft>
              <a:buFont typeface="Symbol" panose="05050102010706020507" pitchFamily="18" charset="2"/>
              <a:buChar char=""/>
              <a:tabLst>
                <a:tab pos="457200" algn="l"/>
              </a:tabLst>
            </a:pPr>
            <a:r>
              <a:rPr lang="en-US" sz="1200" dirty="0">
                <a:ea typeface="Calibri" panose="020F0502020204030204" pitchFamily="34" charset="0"/>
              </a:rPr>
              <a:t>The subject property comprises of a first-floor open plan space which is expertly fitted as a gym.</a:t>
            </a:r>
          </a:p>
          <a:p>
            <a:pPr marL="342900" lvl="0" indent="-342900">
              <a:spcAft>
                <a:spcPts val="0"/>
              </a:spcAft>
              <a:buFont typeface="Symbol" panose="05050102010706020507" pitchFamily="18" charset="2"/>
              <a:buChar char=""/>
              <a:tabLst>
                <a:tab pos="457200" algn="l"/>
              </a:tabLst>
            </a:pPr>
            <a:r>
              <a:rPr lang="en-US" sz="1200" dirty="0">
                <a:ea typeface="Calibri" panose="020F0502020204030204" pitchFamily="34" charset="0"/>
              </a:rPr>
              <a:t>Extending to approx.351 sq m (3,778 sq ft).</a:t>
            </a:r>
          </a:p>
          <a:p>
            <a:pPr marL="342900" lvl="0" indent="-342900">
              <a:spcAft>
                <a:spcPts val="0"/>
              </a:spcAft>
              <a:buFont typeface="Symbol" panose="05050102010706020507" pitchFamily="18" charset="2"/>
              <a:buChar char=""/>
              <a:tabLst>
                <a:tab pos="457200" algn="l"/>
              </a:tabLst>
            </a:pPr>
            <a:r>
              <a:rPr lang="en-US" sz="1200" dirty="0">
                <a:ea typeface="Calibri" panose="020F0502020204030204" pitchFamily="34" charset="0"/>
              </a:rPr>
              <a:t>Quoting rent of €55,000 per annum.</a:t>
            </a:r>
            <a:endParaRPr lang="en-IE" sz="1050" dirty="0">
              <a:ea typeface="Calibri" panose="020F0502020204030204" pitchFamily="34" charset="0"/>
            </a:endParaRPr>
          </a:p>
          <a:p>
            <a:pPr lvl="0">
              <a:spcAft>
                <a:spcPts val="0"/>
              </a:spcAft>
              <a:tabLst>
                <a:tab pos="457200" algn="l"/>
              </a:tabLst>
            </a:pPr>
            <a:endParaRPr lang="en-IE" sz="1000" dirty="0">
              <a:ea typeface="Times New Roman" panose="02020603050405020304" pitchFamily="18" charset="0"/>
            </a:endParaRPr>
          </a:p>
        </p:txBody>
      </p:sp>
      <p:sp>
        <p:nvSpPr>
          <p:cNvPr id="11" name="TextBox 10"/>
          <p:cNvSpPr txBox="1"/>
          <p:nvPr/>
        </p:nvSpPr>
        <p:spPr>
          <a:xfrm>
            <a:off x="5860112" y="10367365"/>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t>cushmanwakfield.ie</a:t>
            </a:r>
            <a:endParaRPr lang="en-US" sz="1200" b="1" dirty="0"/>
          </a:p>
        </p:txBody>
      </p:sp>
      <p:sp>
        <p:nvSpPr>
          <p:cNvPr id="10" name="TextBox 9"/>
          <p:cNvSpPr txBox="1"/>
          <p:nvPr/>
        </p:nvSpPr>
        <p:spPr>
          <a:xfrm>
            <a:off x="4664030" y="7227132"/>
            <a:ext cx="2678778" cy="553998"/>
          </a:xfrm>
          <a:prstGeom prst="rect">
            <a:avLst/>
          </a:prstGeom>
          <a:noFill/>
          <a:ln>
            <a:noFill/>
          </a:ln>
          <a:effectLst/>
        </p:spPr>
        <p:txBody>
          <a:bodyPr vert="horz" wrap="square" lIns="0" tIns="0" rIns="0" bIns="0" rtlCol="0">
            <a:spAutoFit/>
          </a:bodyPr>
          <a:lstStyle/>
          <a:p>
            <a:r>
              <a:rPr lang="en-GB" sz="1200" b="1" dirty="0"/>
              <a:t>Niall Kellegher</a:t>
            </a:r>
          </a:p>
          <a:p>
            <a:r>
              <a:rPr lang="en-GB" sz="1200" dirty="0"/>
              <a:t>Email: Niall.Kellegher@cushwake.com</a:t>
            </a:r>
          </a:p>
          <a:p>
            <a:r>
              <a:rPr lang="en-GB" sz="1200" dirty="0"/>
              <a:t>Tel: +353 87 487 2639</a:t>
            </a:r>
          </a:p>
        </p:txBody>
      </p:sp>
      <p:sp>
        <p:nvSpPr>
          <p:cNvPr id="18" name="TextBox 17"/>
          <p:cNvSpPr txBox="1"/>
          <p:nvPr/>
        </p:nvSpPr>
        <p:spPr>
          <a:xfrm>
            <a:off x="126169" y="166833"/>
            <a:ext cx="5156714" cy="987643"/>
          </a:xfrm>
          <a:prstGeom prst="rect">
            <a:avLst/>
          </a:prstGeom>
          <a:noFill/>
          <a:ln>
            <a:noFill/>
          </a:ln>
          <a:effectLst/>
        </p:spPr>
        <p:txBody>
          <a:bodyPr vert="horz" wrap="square" lIns="0" tIns="0" rIns="0" bIns="0" rtlCol="0">
            <a:spAutoFit/>
          </a:bodyPr>
          <a:lstStyle/>
          <a:p>
            <a:pPr marL="0">
              <a:spcBef>
                <a:spcPts val="1200"/>
              </a:spcBef>
              <a:spcAft>
                <a:spcPts val="1200"/>
              </a:spcAft>
            </a:pPr>
            <a:r>
              <a:rPr lang="en-IE" sz="2400" b="1" kern="1200" dirty="0">
                <a:solidFill>
                  <a:schemeClr val="bg1"/>
                </a:solidFill>
                <a:effectLst/>
                <a:latin typeface="+mn-lt"/>
                <a:ea typeface="+mn-ea"/>
                <a:cs typeface="+mn-cs"/>
              </a:rPr>
              <a:t>To Let: Gym &amp; Le</a:t>
            </a:r>
            <a:r>
              <a:rPr lang="en-IE" sz="2400" b="1" dirty="0">
                <a:solidFill>
                  <a:schemeClr val="bg1"/>
                </a:solidFill>
              </a:rPr>
              <a:t>isure</a:t>
            </a:r>
            <a:r>
              <a:rPr lang="en-IE" sz="2400" b="1" kern="1200" dirty="0">
                <a:solidFill>
                  <a:schemeClr val="bg1"/>
                </a:solidFill>
                <a:effectLst/>
                <a:latin typeface="+mn-lt"/>
                <a:ea typeface="+mn-ea"/>
                <a:cs typeface="+mn-cs"/>
              </a:rPr>
              <a:t> Opportunity</a:t>
            </a:r>
          </a:p>
          <a:p>
            <a:r>
              <a:rPr lang="en-US" sz="1800" b="0" kern="1200" dirty="0">
                <a:solidFill>
                  <a:schemeClr val="bg1"/>
                </a:solidFill>
                <a:effectLst/>
                <a:latin typeface="+mn-lt"/>
                <a:ea typeface="+mn-ea"/>
                <a:cs typeface="+mn-cs"/>
              </a:rPr>
              <a:t>Unit 1/2, Nutgrove Shopping Centre, Dublin 16</a:t>
            </a:r>
            <a:endParaRPr lang="en-US" sz="1800" b="0" kern="1200" dirty="0">
              <a:solidFill>
                <a:schemeClr val="tx1"/>
              </a:solidFill>
              <a:effectLst/>
              <a:latin typeface="+mn-lt"/>
              <a:ea typeface="+mn-ea"/>
              <a:cs typeface="+mn-cs"/>
            </a:endParaRPr>
          </a:p>
          <a:p>
            <a:pPr>
              <a:lnSpc>
                <a:spcPct val="110000"/>
              </a:lnSpc>
            </a:pPr>
            <a:endParaRPr lang="en-US" sz="1200" dirty="0"/>
          </a:p>
        </p:txBody>
      </p:sp>
      <p:pic>
        <p:nvPicPr>
          <p:cNvPr id="101741" name="Picture 365">
            <a:extLst>
              <a:ext uri="{FF2B5EF4-FFF2-40B4-BE49-F238E27FC236}">
                <a16:creationId xmlns:a16="http://schemas.microsoft.com/office/drawing/2014/main" id="{8694260A-182D-44E8-ACC2-637777A9C9A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07840" y="199768"/>
            <a:ext cx="1697702" cy="9431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4E81D94-011D-8DB5-4278-FD7362A6134B}"/>
              </a:ext>
            </a:extLst>
          </p:cNvPr>
          <p:cNvSpPr/>
          <p:nvPr/>
        </p:nvSpPr>
        <p:spPr>
          <a:xfrm>
            <a:off x="0" y="9995799"/>
            <a:ext cx="7561263" cy="719963"/>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sp>
        <p:nvSpPr>
          <p:cNvPr id="12" name="TextBox 11">
            <a:extLst>
              <a:ext uri="{FF2B5EF4-FFF2-40B4-BE49-F238E27FC236}">
                <a16:creationId xmlns:a16="http://schemas.microsoft.com/office/drawing/2014/main" id="{E1B240B3-24FE-1AD1-2598-DF024ECBC9CD}"/>
              </a:ext>
            </a:extLst>
          </p:cNvPr>
          <p:cNvSpPr txBox="1"/>
          <p:nvPr/>
        </p:nvSpPr>
        <p:spPr>
          <a:xfrm>
            <a:off x="5852224" y="10196458"/>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chemeClr val="bg1"/>
                </a:solidFill>
              </a:rPr>
              <a:t>cushmanwakfield.ie</a:t>
            </a:r>
            <a:endParaRPr lang="en-US" sz="1200" b="1" dirty="0">
              <a:solidFill>
                <a:schemeClr val="bg1"/>
              </a:solidFill>
            </a:endParaRPr>
          </a:p>
        </p:txBody>
      </p:sp>
      <p:sp>
        <p:nvSpPr>
          <p:cNvPr id="13" name="TextBox 12">
            <a:extLst>
              <a:ext uri="{FF2B5EF4-FFF2-40B4-BE49-F238E27FC236}">
                <a16:creationId xmlns:a16="http://schemas.microsoft.com/office/drawing/2014/main" id="{2794FB89-B915-213F-3DC3-A491B07952BD}"/>
              </a:ext>
            </a:extLst>
          </p:cNvPr>
          <p:cNvSpPr txBox="1"/>
          <p:nvPr/>
        </p:nvSpPr>
        <p:spPr>
          <a:xfrm>
            <a:off x="4694771" y="7982753"/>
            <a:ext cx="3523840" cy="1480085"/>
          </a:xfrm>
          <a:prstGeom prst="rect">
            <a:avLst/>
          </a:prstGeom>
          <a:noFill/>
          <a:ln>
            <a:noFill/>
          </a:ln>
          <a:effectLst/>
        </p:spPr>
        <p:txBody>
          <a:bodyPr vert="horz" wrap="square" lIns="0" tIns="0" rIns="0" bIns="0" rtlCol="0">
            <a:spAutoFit/>
          </a:bodyPr>
          <a:lstStyle/>
          <a:p>
            <a:endParaRPr lang="en-GB" sz="1200" dirty="0"/>
          </a:p>
          <a:p>
            <a:r>
              <a:rPr lang="en-GB" sz="1200" dirty="0"/>
              <a:t>Cushman &amp; Wakefield</a:t>
            </a:r>
          </a:p>
          <a:p>
            <a:r>
              <a:rPr lang="en-GB" sz="1200" dirty="0"/>
              <a:t>164 Shelbourne Road</a:t>
            </a:r>
          </a:p>
          <a:p>
            <a:r>
              <a:rPr lang="en-GB" sz="1200" dirty="0"/>
              <a:t>Ballsbridge,</a:t>
            </a:r>
          </a:p>
          <a:p>
            <a:r>
              <a:rPr lang="en-GB" sz="1200" dirty="0"/>
              <a:t>Dublin 4 </a:t>
            </a:r>
          </a:p>
          <a:p>
            <a:r>
              <a:rPr lang="en-GB" sz="1200" dirty="0"/>
              <a:t>Ireland </a:t>
            </a:r>
          </a:p>
          <a:p>
            <a:r>
              <a:rPr lang="en-GB" sz="1200" dirty="0"/>
              <a:t>Tel: +353 (0)1 639 9300</a:t>
            </a:r>
          </a:p>
          <a:p>
            <a:pPr>
              <a:lnSpc>
                <a:spcPct val="110000"/>
              </a:lnSpc>
            </a:pPr>
            <a:endParaRPr lang="en-US" sz="1200" dirty="0"/>
          </a:p>
        </p:txBody>
      </p:sp>
      <p:sp>
        <p:nvSpPr>
          <p:cNvPr id="3" name="TextBox 2">
            <a:extLst>
              <a:ext uri="{FF2B5EF4-FFF2-40B4-BE49-F238E27FC236}">
                <a16:creationId xmlns:a16="http://schemas.microsoft.com/office/drawing/2014/main" id="{DBB82623-73E8-4AD0-4D21-1E528FC2EEC8}"/>
              </a:ext>
            </a:extLst>
          </p:cNvPr>
          <p:cNvSpPr txBox="1"/>
          <p:nvPr/>
        </p:nvSpPr>
        <p:spPr>
          <a:xfrm>
            <a:off x="250113" y="7822044"/>
            <a:ext cx="2103188" cy="249812"/>
          </a:xfrm>
          <a:prstGeom prst="rect">
            <a:avLst/>
          </a:prstGeom>
          <a:noFill/>
          <a:ln>
            <a:noFill/>
          </a:ln>
          <a:effectLst/>
        </p:spPr>
        <p:txBody>
          <a:bodyPr vert="horz" wrap="square" lIns="0" tIns="0" rIns="0" bIns="0" rtlCol="0">
            <a:spAutoFit/>
          </a:bodyPr>
          <a:lstStyle/>
          <a:p>
            <a:pPr>
              <a:lnSpc>
                <a:spcPct val="110000"/>
              </a:lnSpc>
            </a:pPr>
            <a:r>
              <a:rPr lang="en-IE" sz="1600" b="1" dirty="0">
                <a:solidFill>
                  <a:schemeClr val="tx2"/>
                </a:solidFill>
              </a:rPr>
              <a:t>Property Description</a:t>
            </a:r>
          </a:p>
        </p:txBody>
      </p:sp>
      <p:sp>
        <p:nvSpPr>
          <p:cNvPr id="15" name="TextBox 14">
            <a:extLst>
              <a:ext uri="{FF2B5EF4-FFF2-40B4-BE49-F238E27FC236}">
                <a16:creationId xmlns:a16="http://schemas.microsoft.com/office/drawing/2014/main" id="{DF1757C2-C089-79B1-01EF-BDED5407219F}"/>
              </a:ext>
            </a:extLst>
          </p:cNvPr>
          <p:cNvSpPr txBox="1"/>
          <p:nvPr/>
        </p:nvSpPr>
        <p:spPr>
          <a:xfrm>
            <a:off x="239533" y="8186578"/>
            <a:ext cx="4227535" cy="1445717"/>
          </a:xfrm>
          <a:prstGeom prst="rect">
            <a:avLst/>
          </a:prstGeom>
          <a:noFill/>
          <a:ln>
            <a:noFill/>
          </a:ln>
          <a:effectLst/>
        </p:spPr>
        <p:txBody>
          <a:bodyPr vert="horz" wrap="square" lIns="0" tIns="0" rIns="0" bIns="0" rtlCol="0">
            <a:spAutoFit/>
          </a:bodyPr>
          <a:lstStyle/>
          <a:p>
            <a:pPr algn="just" rtl="0"/>
            <a:r>
              <a:rPr lang="en-US" sz="1200" dirty="0">
                <a:latin typeface="+mj-lt"/>
              </a:rPr>
              <a:t>Unit 1/2 is situated in a prominent corner unit within Nutgrove Shopping Centre directly opposite the Circle K petrol station.</a:t>
            </a:r>
          </a:p>
          <a:p>
            <a:pPr algn="just">
              <a:lnSpc>
                <a:spcPct val="107000"/>
              </a:lnSpc>
              <a:spcAft>
                <a:spcPts val="800"/>
              </a:spcAft>
            </a:pPr>
            <a:r>
              <a:rPr lang="en-US" sz="1200" dirty="0">
                <a:latin typeface="+mj-lt"/>
              </a:rPr>
              <a:t>Internally, the first floor extends to approximately 351 sq m (3,778 sq ft) comprising of a fully fitted gym.</a:t>
            </a:r>
          </a:p>
          <a:p>
            <a:pPr algn="just">
              <a:lnSpc>
                <a:spcPct val="107000"/>
              </a:lnSpc>
              <a:spcAft>
                <a:spcPts val="800"/>
              </a:spcAft>
            </a:pPr>
            <a:r>
              <a:rPr lang="en-US" sz="1200" dirty="0">
                <a:latin typeface="+mj-lt"/>
              </a:rPr>
              <a:t>To the rear of the unit there is an area sub divided by partitioned walls to provide office accommodation, storage space and male and female toilet facilities. </a:t>
            </a:r>
          </a:p>
        </p:txBody>
      </p:sp>
      <p:pic>
        <p:nvPicPr>
          <p:cNvPr id="16" name="Picture 15" descr="A gym with a large room with a large window and a large sign&#10;&#10;Description automatically generated with medium confidence">
            <a:extLst>
              <a:ext uri="{FF2B5EF4-FFF2-40B4-BE49-F238E27FC236}">
                <a16:creationId xmlns:a16="http://schemas.microsoft.com/office/drawing/2014/main" id="{F6714616-85CB-C7B8-DF0A-E532A0B182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268944"/>
            <a:ext cx="7561261" cy="4797101"/>
          </a:xfrm>
          <a:prstGeom prst="rect">
            <a:avLst/>
          </a:prstGeom>
        </p:spPr>
      </p:pic>
      <p:pic>
        <p:nvPicPr>
          <p:cNvPr id="19" name="Picture 18" descr="A black and yellow logo&#10;&#10;Description automatically generated">
            <a:extLst>
              <a:ext uri="{FF2B5EF4-FFF2-40B4-BE49-F238E27FC236}">
                <a16:creationId xmlns:a16="http://schemas.microsoft.com/office/drawing/2014/main" id="{855BAA83-0D48-8AF8-778D-211D0830BF5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6169" y="10038271"/>
            <a:ext cx="1800117" cy="635018"/>
          </a:xfrm>
          <a:prstGeom prst="rect">
            <a:avLst/>
          </a:prstGeom>
        </p:spPr>
      </p:pic>
      <p:sp>
        <p:nvSpPr>
          <p:cNvPr id="14" name="TextBox 13">
            <a:extLst>
              <a:ext uri="{FF2B5EF4-FFF2-40B4-BE49-F238E27FC236}">
                <a16:creationId xmlns:a16="http://schemas.microsoft.com/office/drawing/2014/main" id="{0379E02A-156E-D08E-F1FD-4DE9A50379C0}"/>
              </a:ext>
            </a:extLst>
          </p:cNvPr>
          <p:cNvSpPr txBox="1"/>
          <p:nvPr/>
        </p:nvSpPr>
        <p:spPr>
          <a:xfrm>
            <a:off x="4678686" y="6502820"/>
            <a:ext cx="2362852" cy="593689"/>
          </a:xfrm>
          <a:prstGeom prst="rect">
            <a:avLst/>
          </a:prstGeom>
          <a:noFill/>
          <a:ln>
            <a:noFill/>
          </a:ln>
          <a:effectLst/>
        </p:spPr>
        <p:txBody>
          <a:bodyPr vert="horz" wrap="square" lIns="0" tIns="0" rIns="0" bIns="0" rtlCol="0">
            <a:spAutoFit/>
          </a:bodyPr>
          <a:lstStyle/>
          <a:p>
            <a:pPr>
              <a:lnSpc>
                <a:spcPct val="110000"/>
              </a:lnSpc>
            </a:pPr>
            <a:r>
              <a:rPr lang="en-US" sz="1200" b="1" dirty="0"/>
              <a:t>Peter Love</a:t>
            </a:r>
          </a:p>
          <a:p>
            <a:pPr>
              <a:lnSpc>
                <a:spcPct val="110000"/>
              </a:lnSpc>
            </a:pPr>
            <a:r>
              <a:rPr lang="en-US" sz="1200" dirty="0"/>
              <a:t>Email: </a:t>
            </a:r>
            <a:r>
              <a:rPr lang="en-US" sz="1200" dirty="0">
                <a:hlinkClick r:id="rId9"/>
              </a:rPr>
              <a:t>Peter.love@cushwake.com</a:t>
            </a:r>
            <a:endParaRPr lang="en-US" sz="1200" dirty="0"/>
          </a:p>
          <a:p>
            <a:pPr>
              <a:lnSpc>
                <a:spcPct val="110000"/>
              </a:lnSpc>
            </a:pPr>
            <a:r>
              <a:rPr lang="en-US" sz="1200" dirty="0"/>
              <a:t>Tel: +353 1 639 9612</a:t>
            </a:r>
          </a:p>
        </p:txBody>
      </p:sp>
    </p:spTree>
    <p:extLst>
      <p:ext uri="{BB962C8B-B14F-4D97-AF65-F5344CB8AC3E}">
        <p14:creationId xmlns:p14="http://schemas.microsoft.com/office/powerpoint/2010/main" val="1905004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85503" y="3185652"/>
            <a:ext cx="1578078" cy="1120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graphicFrame>
        <p:nvGraphicFramePr>
          <p:cNvPr id="2" name="Object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11" name="TextBox 10"/>
          <p:cNvSpPr txBox="1"/>
          <p:nvPr/>
        </p:nvSpPr>
        <p:spPr>
          <a:xfrm>
            <a:off x="5860112" y="10367365"/>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t>cushmanwakfield.ie</a:t>
            </a:r>
            <a:endParaRPr lang="en-US" sz="1200" b="1" dirty="0"/>
          </a:p>
        </p:txBody>
      </p:sp>
      <p:sp>
        <p:nvSpPr>
          <p:cNvPr id="18" name="TextBox 17"/>
          <p:cNvSpPr txBox="1"/>
          <p:nvPr/>
        </p:nvSpPr>
        <p:spPr>
          <a:xfrm>
            <a:off x="126169" y="166833"/>
            <a:ext cx="5156714" cy="1015343"/>
          </a:xfrm>
          <a:prstGeom prst="rect">
            <a:avLst/>
          </a:prstGeom>
          <a:noFill/>
          <a:ln>
            <a:noFill/>
          </a:ln>
          <a:effectLst/>
        </p:spPr>
        <p:txBody>
          <a:bodyPr vert="horz" wrap="square" lIns="0" tIns="0" rIns="0" bIns="0" rtlCol="0">
            <a:spAutoFit/>
          </a:bodyPr>
          <a:lstStyle/>
          <a:p>
            <a:pPr marL="0">
              <a:spcBef>
                <a:spcPts val="1200"/>
              </a:spcBef>
              <a:spcAft>
                <a:spcPts val="1200"/>
              </a:spcAft>
            </a:pPr>
            <a:r>
              <a:rPr lang="en-IE" sz="2400" b="1" kern="1200" dirty="0">
                <a:solidFill>
                  <a:schemeClr val="bg1"/>
                </a:solidFill>
                <a:effectLst/>
                <a:latin typeface="+mn-lt"/>
                <a:ea typeface="+mn-ea"/>
                <a:cs typeface="+mn-cs"/>
              </a:rPr>
              <a:t>To Let: </a:t>
            </a:r>
            <a:r>
              <a:rPr lang="en-IE" sz="2400" b="1" dirty="0">
                <a:solidFill>
                  <a:schemeClr val="bg1"/>
                </a:solidFill>
              </a:rPr>
              <a:t>Retail</a:t>
            </a:r>
            <a:r>
              <a:rPr lang="en-IE" sz="2400" b="1" kern="1200" dirty="0">
                <a:solidFill>
                  <a:schemeClr val="bg1"/>
                </a:solidFill>
                <a:effectLst/>
                <a:latin typeface="+mn-lt"/>
                <a:ea typeface="+mn-ea"/>
                <a:cs typeface="+mn-cs"/>
              </a:rPr>
              <a:t> Opportunity</a:t>
            </a:r>
          </a:p>
          <a:p>
            <a:pPr>
              <a:lnSpc>
                <a:spcPct val="110000"/>
              </a:lnSpc>
            </a:pPr>
            <a:r>
              <a:rPr lang="en-US" sz="1800" b="0" kern="1200" dirty="0">
                <a:solidFill>
                  <a:schemeClr val="bg1"/>
                </a:solidFill>
                <a:effectLst/>
                <a:latin typeface="+mn-lt"/>
                <a:ea typeface="+mn-ea"/>
                <a:cs typeface="+mn-cs"/>
              </a:rPr>
              <a:t>Unit 1/2, Nutgrove Shopping Centre, Dublin 14</a:t>
            </a:r>
            <a:endParaRPr lang="en-US" sz="1800" b="0" kern="1200" dirty="0">
              <a:solidFill>
                <a:schemeClr val="tx1"/>
              </a:solidFill>
              <a:effectLst/>
              <a:latin typeface="+mn-lt"/>
              <a:ea typeface="+mn-ea"/>
              <a:cs typeface="+mn-cs"/>
            </a:endParaRPr>
          </a:p>
          <a:p>
            <a:pPr>
              <a:lnSpc>
                <a:spcPct val="110000"/>
              </a:lnSpc>
            </a:pPr>
            <a:endParaRPr lang="en-US" sz="1200" dirty="0"/>
          </a:p>
        </p:txBody>
      </p:sp>
      <p:pic>
        <p:nvPicPr>
          <p:cNvPr id="101741" name="Picture 365">
            <a:extLst>
              <a:ext uri="{FF2B5EF4-FFF2-40B4-BE49-F238E27FC236}">
                <a16:creationId xmlns:a16="http://schemas.microsoft.com/office/drawing/2014/main" id="{8694260A-182D-44E8-ACC2-637777A9C9A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07840" y="199768"/>
            <a:ext cx="1697702" cy="9431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4E81D94-011D-8DB5-4278-FD7362A6134B}"/>
              </a:ext>
            </a:extLst>
          </p:cNvPr>
          <p:cNvSpPr/>
          <p:nvPr/>
        </p:nvSpPr>
        <p:spPr>
          <a:xfrm>
            <a:off x="-2" y="9986315"/>
            <a:ext cx="7561263" cy="719963"/>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sp>
        <p:nvSpPr>
          <p:cNvPr id="12" name="TextBox 11">
            <a:extLst>
              <a:ext uri="{FF2B5EF4-FFF2-40B4-BE49-F238E27FC236}">
                <a16:creationId xmlns:a16="http://schemas.microsoft.com/office/drawing/2014/main" id="{E1B240B3-24FE-1AD1-2598-DF024ECBC9CD}"/>
              </a:ext>
            </a:extLst>
          </p:cNvPr>
          <p:cNvSpPr txBox="1"/>
          <p:nvPr/>
        </p:nvSpPr>
        <p:spPr>
          <a:xfrm>
            <a:off x="5852224" y="10196458"/>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chemeClr val="bg1"/>
                </a:solidFill>
              </a:rPr>
              <a:t>cushmanwakfield.ie</a:t>
            </a:r>
            <a:endParaRPr lang="en-US" sz="1200" b="1" dirty="0">
              <a:solidFill>
                <a:schemeClr val="bg1"/>
              </a:solidFill>
            </a:endParaRPr>
          </a:p>
        </p:txBody>
      </p:sp>
      <p:pic>
        <p:nvPicPr>
          <p:cNvPr id="5" name="Picture 4" descr="A large gym with exercise equipment&#10;&#10;Description automatically generated">
            <a:extLst>
              <a:ext uri="{FF2B5EF4-FFF2-40B4-BE49-F238E27FC236}">
                <a16:creationId xmlns:a16="http://schemas.microsoft.com/office/drawing/2014/main" id="{8167DEB6-8131-AFBF-BB45-48B2EC7AC9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 y="1268274"/>
            <a:ext cx="7561264" cy="3955402"/>
          </a:xfrm>
          <a:prstGeom prst="rect">
            <a:avLst/>
          </a:prstGeom>
        </p:spPr>
      </p:pic>
      <p:pic>
        <p:nvPicPr>
          <p:cNvPr id="8" name="Picture 7" descr="A building with a sign on the front&#10;&#10;Description automatically generated">
            <a:extLst>
              <a:ext uri="{FF2B5EF4-FFF2-40B4-BE49-F238E27FC236}">
                <a16:creationId xmlns:a16="http://schemas.microsoft.com/office/drawing/2014/main" id="{32175470-24C1-86DC-7ADD-CAD4A8C1BE3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12" y="5346699"/>
            <a:ext cx="3654462" cy="4639615"/>
          </a:xfrm>
          <a:prstGeom prst="rect">
            <a:avLst/>
          </a:prstGeom>
        </p:spPr>
      </p:pic>
      <p:pic>
        <p:nvPicPr>
          <p:cNvPr id="13" name="Picture 12" descr="A bathroom with a sink and mirrors&#10;&#10;Description automatically generated">
            <a:extLst>
              <a:ext uri="{FF2B5EF4-FFF2-40B4-BE49-F238E27FC236}">
                <a16:creationId xmlns:a16="http://schemas.microsoft.com/office/drawing/2014/main" id="{9051933B-96B8-1F5C-CFCB-7BD4B66A4A1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76087" y="5346699"/>
            <a:ext cx="3885176" cy="2354867"/>
          </a:xfrm>
          <a:prstGeom prst="rect">
            <a:avLst/>
          </a:prstGeom>
        </p:spPr>
      </p:pic>
      <p:pic>
        <p:nvPicPr>
          <p:cNvPr id="15" name="Picture 14" descr="A gym with a sign on the wall&#10;&#10;Description automatically generated">
            <a:extLst>
              <a:ext uri="{FF2B5EF4-FFF2-40B4-BE49-F238E27FC236}">
                <a16:creationId xmlns:a16="http://schemas.microsoft.com/office/drawing/2014/main" id="{0853CBD2-5CF7-A7BB-70D0-D934AE39B9E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65273" y="7702243"/>
            <a:ext cx="3906802" cy="2284072"/>
          </a:xfrm>
          <a:prstGeom prst="rect">
            <a:avLst/>
          </a:prstGeom>
        </p:spPr>
      </p:pic>
    </p:spTree>
    <p:extLst>
      <p:ext uri="{BB962C8B-B14F-4D97-AF65-F5344CB8AC3E}">
        <p14:creationId xmlns:p14="http://schemas.microsoft.com/office/powerpoint/2010/main" val="3725134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44"/>
          <p:cNvSpPr>
            <a:spLocks/>
          </p:cNvSpPr>
          <p:nvPr/>
        </p:nvSpPr>
        <p:spPr bwMode="auto">
          <a:xfrm>
            <a:off x="0" y="9424158"/>
            <a:ext cx="5657850" cy="1269242"/>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rcRect/>
          <a:stretch/>
        </p:blipFill>
        <p:spPr>
          <a:xfrm>
            <a:off x="5764085" y="9572871"/>
            <a:ext cx="1501678" cy="831865"/>
          </a:xfrm>
          <a:prstGeom prst="rect">
            <a:avLst/>
          </a:prstGeom>
        </p:spPr>
      </p:pic>
      <p:sp>
        <p:nvSpPr>
          <p:cNvPr id="41" name="TextBox 40"/>
          <p:cNvSpPr txBox="1"/>
          <p:nvPr/>
        </p:nvSpPr>
        <p:spPr>
          <a:xfrm>
            <a:off x="258158" y="9620472"/>
            <a:ext cx="4780317" cy="902235"/>
          </a:xfrm>
          <a:prstGeom prst="rect">
            <a:avLst/>
          </a:prstGeom>
          <a:noFill/>
          <a:ln>
            <a:noFill/>
          </a:ln>
          <a:effectLst/>
        </p:spPr>
        <p:txBody>
          <a:bodyPr vert="horz" wrap="square" lIns="0" tIns="0" rIns="0" bIns="0" rtlCol="0">
            <a:spAutoFit/>
          </a:bodyPr>
          <a:lstStyle/>
          <a:p>
            <a:pPr>
              <a:lnSpc>
                <a:spcPct val="110000"/>
              </a:lnSpc>
            </a:pPr>
            <a:r>
              <a:rPr lang="en-GB" sz="900" dirty="0">
                <a:solidFill>
                  <a:schemeClr val="bg1"/>
                </a:solidFill>
              </a:rPr>
              <a:t>A full copy of our general brochure conditions can be viewed on our website or can be requested from your local Cushman Wakefield office. We strongly recommend that you familiarise yourself with these general conditions. While care has been taken to ensure that information contained in Cushman Wakefield publications is correct at the time of publication, changes in circumstances after the time of publication may impact on the accuracy of this information. PSRA Registration Number: 002222.    Subject to Contract/Contract Denied.</a:t>
            </a:r>
          </a:p>
        </p:txBody>
      </p:sp>
      <p:sp>
        <p:nvSpPr>
          <p:cNvPr id="27" name="Rectangle 26">
            <a:extLst>
              <a:ext uri="{FF2B5EF4-FFF2-40B4-BE49-F238E27FC236}">
                <a16:creationId xmlns:a16="http://schemas.microsoft.com/office/drawing/2014/main" id="{2518B67D-58A4-4586-A478-EF551C6D3D2B}"/>
              </a:ext>
            </a:extLst>
          </p:cNvPr>
          <p:cNvSpPr/>
          <p:nvPr/>
        </p:nvSpPr>
        <p:spPr>
          <a:xfrm>
            <a:off x="157574" y="7636026"/>
            <a:ext cx="1484702" cy="338554"/>
          </a:xfrm>
          <a:prstGeom prst="rect">
            <a:avLst/>
          </a:prstGeom>
        </p:spPr>
        <p:txBody>
          <a:bodyPr wrap="none">
            <a:spAutoFit/>
          </a:bodyPr>
          <a:lstStyle/>
          <a:p>
            <a:r>
              <a:rPr lang="en-GB" sz="1600" b="1" dirty="0">
                <a:solidFill>
                  <a:schemeClr val="tx2"/>
                </a:solidFill>
              </a:rPr>
              <a:t>Quoting Rent</a:t>
            </a:r>
            <a:endParaRPr lang="en-US" sz="1600" b="1" dirty="0">
              <a:solidFill>
                <a:schemeClr val="tx2"/>
              </a:solidFill>
            </a:endParaRPr>
          </a:p>
        </p:txBody>
      </p:sp>
      <p:sp>
        <p:nvSpPr>
          <p:cNvPr id="28" name="TextBox 27">
            <a:extLst>
              <a:ext uri="{FF2B5EF4-FFF2-40B4-BE49-F238E27FC236}">
                <a16:creationId xmlns:a16="http://schemas.microsoft.com/office/drawing/2014/main" id="{1E1ABCBF-4CBA-4166-B0F0-E8C3C1095E59}"/>
              </a:ext>
            </a:extLst>
          </p:cNvPr>
          <p:cNvSpPr txBox="1"/>
          <p:nvPr/>
        </p:nvSpPr>
        <p:spPr>
          <a:xfrm>
            <a:off x="262354" y="7999680"/>
            <a:ext cx="2805459" cy="187424"/>
          </a:xfrm>
          <a:prstGeom prst="rect">
            <a:avLst/>
          </a:prstGeom>
          <a:noFill/>
          <a:ln>
            <a:noFill/>
          </a:ln>
          <a:effectLst/>
        </p:spPr>
        <p:txBody>
          <a:bodyPr vert="horz" wrap="square" lIns="0" tIns="0" rIns="0" bIns="0" rtlCol="0">
            <a:spAutoFit/>
          </a:bodyPr>
          <a:lstStyle/>
          <a:p>
            <a:pPr algn="just">
              <a:lnSpc>
                <a:spcPct val="110000"/>
              </a:lnSpc>
            </a:pPr>
            <a:r>
              <a:rPr lang="en-GB" sz="1200" dirty="0"/>
              <a:t>€ </a:t>
            </a:r>
            <a:r>
              <a:rPr lang="en-US" sz="1200" dirty="0"/>
              <a:t>55,000 per annum.</a:t>
            </a:r>
          </a:p>
        </p:txBody>
      </p:sp>
      <p:sp>
        <p:nvSpPr>
          <p:cNvPr id="4" name="TextBox 3">
            <a:extLst>
              <a:ext uri="{FF2B5EF4-FFF2-40B4-BE49-F238E27FC236}">
                <a16:creationId xmlns:a16="http://schemas.microsoft.com/office/drawing/2014/main" id="{8C507EED-7194-B531-5A0A-CFA424F0D9EF}"/>
              </a:ext>
            </a:extLst>
          </p:cNvPr>
          <p:cNvSpPr txBox="1"/>
          <p:nvPr/>
        </p:nvSpPr>
        <p:spPr>
          <a:xfrm>
            <a:off x="206795" y="359695"/>
            <a:ext cx="4635662" cy="4585871"/>
          </a:xfrm>
          <a:prstGeom prst="rect">
            <a:avLst/>
          </a:prstGeom>
          <a:noFill/>
          <a:ln>
            <a:noFill/>
          </a:ln>
          <a:effectLst/>
        </p:spPr>
        <p:txBody>
          <a:bodyPr vert="horz" wrap="square" lIns="0" tIns="0" rIns="0" bIns="0" rtlCol="0">
            <a:spAutoFit/>
          </a:bodyPr>
          <a:lstStyle/>
          <a:p>
            <a:pPr algn="just" rtl="0"/>
            <a:endParaRPr lang="en-US" sz="1200" dirty="0"/>
          </a:p>
          <a:p>
            <a:pPr algn="just" rtl="0"/>
            <a:r>
              <a:rPr lang="en-US" sz="1200" dirty="0"/>
              <a:t>Nutgrove Shopping Centre is a popular retail destination anchored by Dunnes Stores and Penney’s just west of Dundrum Town Centre and approximately 7.8km from Dublin City Centre. Nutgrove retail park is located directly opposite the shopping centre with notable occupiers including Homebase, Aldi, Harry Corry, Harvey Norman, Costa Coffee and the HSE.</a:t>
            </a:r>
          </a:p>
          <a:p>
            <a:pPr algn="just" rtl="0"/>
            <a:endParaRPr lang="en-US" sz="1200" dirty="0"/>
          </a:p>
          <a:p>
            <a:pPr algn="just" rtl="0"/>
            <a:r>
              <a:rPr lang="en-US" sz="1200" dirty="0"/>
              <a:t>The surrounding area of Rathfarnham is predominantly residential and commercial in character. Dublin Bus services connects Rathfarnham to both surrounding areas and Dublin City Centre.</a:t>
            </a:r>
          </a:p>
          <a:p>
            <a:pPr algn="just"/>
            <a:r>
              <a:rPr lang="en-US" sz="1200" dirty="0"/>
              <a:t>Nutgrove Shopping Centre conveniently offers free parking to customers. </a:t>
            </a: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200" dirty="0">
              <a:highlight>
                <a:srgbClr val="FFFF00"/>
              </a:highlight>
            </a:endParaRPr>
          </a:p>
          <a:p>
            <a:pPr algn="just" rtl="0"/>
            <a:endParaRPr lang="en-US" sz="1000" dirty="0">
              <a:highlight>
                <a:srgbClr val="FFFF00"/>
              </a:highlight>
            </a:endParaRPr>
          </a:p>
        </p:txBody>
      </p:sp>
      <p:sp>
        <p:nvSpPr>
          <p:cNvPr id="5" name="Rectangle 4">
            <a:extLst>
              <a:ext uri="{FF2B5EF4-FFF2-40B4-BE49-F238E27FC236}">
                <a16:creationId xmlns:a16="http://schemas.microsoft.com/office/drawing/2014/main" id="{BFCD7B68-8820-9111-4157-5D315A1B440C}"/>
              </a:ext>
            </a:extLst>
          </p:cNvPr>
          <p:cNvSpPr/>
          <p:nvPr/>
        </p:nvSpPr>
        <p:spPr>
          <a:xfrm>
            <a:off x="121941" y="46181"/>
            <a:ext cx="1033728" cy="338554"/>
          </a:xfrm>
          <a:prstGeom prst="rect">
            <a:avLst/>
          </a:prstGeom>
        </p:spPr>
        <p:txBody>
          <a:bodyPr wrap="square">
            <a:spAutoFit/>
          </a:bodyPr>
          <a:lstStyle/>
          <a:p>
            <a:r>
              <a:rPr lang="en-US" sz="1600" b="1" dirty="0">
                <a:solidFill>
                  <a:schemeClr val="tx2"/>
                </a:solidFill>
              </a:rPr>
              <a:t>Location</a:t>
            </a:r>
          </a:p>
        </p:txBody>
      </p:sp>
      <p:grpSp>
        <p:nvGrpSpPr>
          <p:cNvPr id="14" name="Group 13">
            <a:extLst>
              <a:ext uri="{FF2B5EF4-FFF2-40B4-BE49-F238E27FC236}">
                <a16:creationId xmlns:a16="http://schemas.microsoft.com/office/drawing/2014/main" id="{5D022188-4AE3-D9AA-ED0D-7C86FF0B4256}"/>
              </a:ext>
            </a:extLst>
          </p:cNvPr>
          <p:cNvGrpSpPr/>
          <p:nvPr/>
        </p:nvGrpSpPr>
        <p:grpSpPr>
          <a:xfrm>
            <a:off x="157574" y="8310313"/>
            <a:ext cx="4033594" cy="548268"/>
            <a:chOff x="-29020" y="74031"/>
            <a:chExt cx="4033594" cy="548268"/>
          </a:xfrm>
        </p:grpSpPr>
        <p:sp>
          <p:nvSpPr>
            <p:cNvPr id="15" name="Rectangle 14">
              <a:extLst>
                <a:ext uri="{FF2B5EF4-FFF2-40B4-BE49-F238E27FC236}">
                  <a16:creationId xmlns:a16="http://schemas.microsoft.com/office/drawing/2014/main" id="{B5D8F1D8-7D67-D9CE-7CA2-9884899A382E}"/>
                </a:ext>
              </a:extLst>
            </p:cNvPr>
            <p:cNvSpPr/>
            <p:nvPr/>
          </p:nvSpPr>
          <p:spPr>
            <a:xfrm>
              <a:off x="-29020" y="74031"/>
              <a:ext cx="1346844" cy="338554"/>
            </a:xfrm>
            <a:prstGeom prst="rect">
              <a:avLst/>
            </a:prstGeom>
          </p:spPr>
          <p:txBody>
            <a:bodyPr wrap="none">
              <a:spAutoFit/>
            </a:bodyPr>
            <a:lstStyle/>
            <a:p>
              <a:r>
                <a:rPr lang="en-GB" sz="1600" b="1" dirty="0">
                  <a:solidFill>
                    <a:schemeClr val="tx2"/>
                  </a:solidFill>
                </a:rPr>
                <a:t>BER Details</a:t>
              </a:r>
              <a:endParaRPr lang="en-US" sz="1600" b="1" dirty="0">
                <a:solidFill>
                  <a:schemeClr val="tx2"/>
                </a:solidFill>
              </a:endParaRPr>
            </a:p>
          </p:txBody>
        </p:sp>
        <p:sp>
          <p:nvSpPr>
            <p:cNvPr id="16" name="TextBox 15">
              <a:extLst>
                <a:ext uri="{FF2B5EF4-FFF2-40B4-BE49-F238E27FC236}">
                  <a16:creationId xmlns:a16="http://schemas.microsoft.com/office/drawing/2014/main" id="{AF590FA9-97EB-F38A-50E4-1D52AAA8509D}"/>
                </a:ext>
              </a:extLst>
            </p:cNvPr>
            <p:cNvSpPr txBox="1"/>
            <p:nvPr/>
          </p:nvSpPr>
          <p:spPr>
            <a:xfrm>
              <a:off x="70520" y="252967"/>
              <a:ext cx="3934054" cy="369332"/>
            </a:xfrm>
            <a:prstGeom prst="rect">
              <a:avLst/>
            </a:prstGeom>
            <a:noFill/>
            <a:ln>
              <a:noFill/>
            </a:ln>
            <a:effectLst/>
          </p:spPr>
          <p:txBody>
            <a:bodyPr vert="horz" wrap="square" lIns="0" tIns="0" rIns="0" bIns="0" rtlCol="0">
              <a:spAutoFit/>
            </a:bodyPr>
            <a:lstStyle/>
            <a:p>
              <a:endParaRPr lang="en-US" sz="1200" dirty="0"/>
            </a:p>
            <a:p>
              <a:r>
                <a:rPr lang="en-IE" sz="1200" dirty="0"/>
                <a:t>BER No: </a:t>
              </a:r>
              <a:r>
                <a:rPr lang="en-US" sz="1200" dirty="0"/>
                <a:t>800805434</a:t>
              </a:r>
              <a:endParaRPr lang="en-IE" sz="1200" dirty="0"/>
            </a:p>
          </p:txBody>
        </p:sp>
      </p:grpSp>
      <p:sp>
        <p:nvSpPr>
          <p:cNvPr id="2" name="Rectangle 1">
            <a:extLst>
              <a:ext uri="{FF2B5EF4-FFF2-40B4-BE49-F238E27FC236}">
                <a16:creationId xmlns:a16="http://schemas.microsoft.com/office/drawing/2014/main" id="{FFEAAC9D-8315-0D69-35C8-2BAE610BB8F3}"/>
              </a:ext>
            </a:extLst>
          </p:cNvPr>
          <p:cNvSpPr/>
          <p:nvPr/>
        </p:nvSpPr>
        <p:spPr>
          <a:xfrm>
            <a:off x="3671711" y="7559128"/>
            <a:ext cx="3124573" cy="338554"/>
          </a:xfrm>
          <a:prstGeom prst="rect">
            <a:avLst/>
          </a:prstGeom>
        </p:spPr>
        <p:txBody>
          <a:bodyPr wrap="none">
            <a:spAutoFit/>
          </a:bodyPr>
          <a:lstStyle/>
          <a:p>
            <a:r>
              <a:rPr lang="en-GB" sz="1600" b="1" dirty="0">
                <a:solidFill>
                  <a:schemeClr val="tx2"/>
                </a:solidFill>
              </a:rPr>
              <a:t>Service Charge and Insurance</a:t>
            </a:r>
            <a:endParaRPr lang="en-US" sz="1600" b="1" dirty="0">
              <a:solidFill>
                <a:schemeClr val="tx2"/>
              </a:solidFill>
            </a:endParaRPr>
          </a:p>
        </p:txBody>
      </p:sp>
      <p:sp>
        <p:nvSpPr>
          <p:cNvPr id="3" name="TextBox 2">
            <a:extLst>
              <a:ext uri="{FF2B5EF4-FFF2-40B4-BE49-F238E27FC236}">
                <a16:creationId xmlns:a16="http://schemas.microsoft.com/office/drawing/2014/main" id="{14560C34-F39B-98BA-C53B-0636B2B71172}"/>
              </a:ext>
            </a:extLst>
          </p:cNvPr>
          <p:cNvSpPr txBox="1"/>
          <p:nvPr/>
        </p:nvSpPr>
        <p:spPr>
          <a:xfrm>
            <a:off x="3780631" y="7820739"/>
            <a:ext cx="2805459" cy="796821"/>
          </a:xfrm>
          <a:prstGeom prst="rect">
            <a:avLst/>
          </a:prstGeom>
          <a:noFill/>
          <a:ln>
            <a:noFill/>
          </a:ln>
          <a:effectLst/>
        </p:spPr>
        <p:txBody>
          <a:bodyPr vert="horz" wrap="square" lIns="0" tIns="0" rIns="0" bIns="0" rtlCol="0">
            <a:spAutoFit/>
          </a:bodyPr>
          <a:lstStyle/>
          <a:p>
            <a:pPr>
              <a:lnSpc>
                <a:spcPct val="110000"/>
              </a:lnSpc>
            </a:pPr>
            <a:r>
              <a:rPr lang="en-GB" sz="1200" dirty="0"/>
              <a:t>We understand the 2023 service charge for the subject unit payable equate to approx. €24,880 while insurance costs equate to approx. €4,767</a:t>
            </a:r>
          </a:p>
        </p:txBody>
      </p:sp>
      <p:sp>
        <p:nvSpPr>
          <p:cNvPr id="7" name="TextBox 6">
            <a:extLst>
              <a:ext uri="{FF2B5EF4-FFF2-40B4-BE49-F238E27FC236}">
                <a16:creationId xmlns:a16="http://schemas.microsoft.com/office/drawing/2014/main" id="{65C0EFD1-FD95-7081-5CF3-37DD6930BF28}"/>
              </a:ext>
            </a:extLst>
          </p:cNvPr>
          <p:cNvSpPr txBox="1"/>
          <p:nvPr/>
        </p:nvSpPr>
        <p:spPr>
          <a:xfrm>
            <a:off x="3671711" y="8571518"/>
            <a:ext cx="3290402" cy="753732"/>
          </a:xfrm>
          <a:prstGeom prst="rect">
            <a:avLst/>
          </a:prstGeom>
          <a:noFill/>
          <a:ln>
            <a:noFill/>
          </a:ln>
          <a:effectLst/>
        </p:spPr>
        <p:txBody>
          <a:bodyPr wrap="square">
            <a:spAutoFit/>
          </a:bodyPr>
          <a:lstStyle/>
          <a:p>
            <a:pPr>
              <a:lnSpc>
                <a:spcPct val="110000"/>
              </a:lnSpc>
            </a:pPr>
            <a:r>
              <a:rPr lang="en-GB" sz="1600" b="1" dirty="0">
                <a:solidFill>
                  <a:schemeClr val="tx2"/>
                </a:solidFill>
              </a:rPr>
              <a:t>Commercial Rates</a:t>
            </a:r>
          </a:p>
          <a:p>
            <a:pPr>
              <a:lnSpc>
                <a:spcPct val="110000"/>
              </a:lnSpc>
            </a:pPr>
            <a:r>
              <a:rPr lang="en-GB" sz="1200" dirty="0"/>
              <a:t>2023 commercial rates payable were approximately €7,384</a:t>
            </a:r>
            <a:endParaRPr lang="en-US" sz="1000" dirty="0"/>
          </a:p>
        </p:txBody>
      </p:sp>
      <p:graphicFrame>
        <p:nvGraphicFramePr>
          <p:cNvPr id="8" name="Table 5">
            <a:extLst>
              <a:ext uri="{FF2B5EF4-FFF2-40B4-BE49-F238E27FC236}">
                <a16:creationId xmlns:a16="http://schemas.microsoft.com/office/drawing/2014/main" id="{2439F525-99CF-D0C0-12AF-E9B617208A74}"/>
              </a:ext>
            </a:extLst>
          </p:cNvPr>
          <p:cNvGraphicFramePr>
            <a:graphicFrameLocks noGrp="1"/>
          </p:cNvGraphicFramePr>
          <p:nvPr>
            <p:extLst>
              <p:ext uri="{D42A27DB-BD31-4B8C-83A1-F6EECF244321}">
                <p14:modId xmlns:p14="http://schemas.microsoft.com/office/powerpoint/2010/main" val="1654106581"/>
              </p:ext>
            </p:extLst>
          </p:nvPr>
        </p:nvGraphicFramePr>
        <p:xfrm>
          <a:off x="5028813" y="662994"/>
          <a:ext cx="2231142" cy="796089"/>
        </p:xfrm>
        <a:graphic>
          <a:graphicData uri="http://schemas.openxmlformats.org/drawingml/2006/table">
            <a:tbl>
              <a:tblPr firstRow="1" bandRow="1">
                <a:tableStyleId>{073A0DAA-6AF3-43AB-8588-CEC1D06C72B9}</a:tableStyleId>
              </a:tblPr>
              <a:tblGrid>
                <a:gridCol w="743714">
                  <a:extLst>
                    <a:ext uri="{9D8B030D-6E8A-4147-A177-3AD203B41FA5}">
                      <a16:colId xmlns:a16="http://schemas.microsoft.com/office/drawing/2014/main" val="4267046950"/>
                    </a:ext>
                  </a:extLst>
                </a:gridCol>
                <a:gridCol w="743714">
                  <a:extLst>
                    <a:ext uri="{9D8B030D-6E8A-4147-A177-3AD203B41FA5}">
                      <a16:colId xmlns:a16="http://schemas.microsoft.com/office/drawing/2014/main" val="1335758680"/>
                    </a:ext>
                  </a:extLst>
                </a:gridCol>
                <a:gridCol w="743714">
                  <a:extLst>
                    <a:ext uri="{9D8B030D-6E8A-4147-A177-3AD203B41FA5}">
                      <a16:colId xmlns:a16="http://schemas.microsoft.com/office/drawing/2014/main" val="3657996926"/>
                    </a:ext>
                  </a:extLst>
                </a:gridCol>
              </a:tblGrid>
              <a:tr h="332828">
                <a:tc>
                  <a:txBody>
                    <a:bodyPr/>
                    <a:lstStyle/>
                    <a:p>
                      <a:r>
                        <a:rPr lang="en-US" sz="1200" dirty="0">
                          <a:solidFill>
                            <a:schemeClr val="tx1"/>
                          </a:solidFill>
                        </a:rPr>
                        <a:t>Flo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lang="en-US" sz="1200" dirty="0">
                          <a:solidFill>
                            <a:schemeClr val="tx1"/>
                          </a:solidFill>
                        </a:rPr>
                        <a:t>Sq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lang="en-US" sz="1200" dirty="0">
                          <a:solidFill>
                            <a:schemeClr val="tx1"/>
                          </a:solidFill>
                        </a:rPr>
                        <a:t>Sq F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29316801"/>
                  </a:ext>
                </a:extLst>
              </a:tr>
              <a:tr h="463261">
                <a:tc>
                  <a:txBody>
                    <a:bodyPr/>
                    <a:lstStyle/>
                    <a:p>
                      <a:r>
                        <a:rPr lang="en-US" sz="1200" dirty="0"/>
                        <a:t>Ground flo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35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3,77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4300508"/>
                  </a:ext>
                </a:extLst>
              </a:tr>
            </a:tbl>
          </a:graphicData>
        </a:graphic>
      </p:graphicFrame>
      <p:sp>
        <p:nvSpPr>
          <p:cNvPr id="12" name="Rectangle 11">
            <a:extLst>
              <a:ext uri="{FF2B5EF4-FFF2-40B4-BE49-F238E27FC236}">
                <a16:creationId xmlns:a16="http://schemas.microsoft.com/office/drawing/2014/main" id="{E23D873B-3B38-EF89-ADE4-D7F59141F2ED}"/>
              </a:ext>
            </a:extLst>
          </p:cNvPr>
          <p:cNvSpPr/>
          <p:nvPr/>
        </p:nvSpPr>
        <p:spPr>
          <a:xfrm>
            <a:off x="4932150" y="98892"/>
            <a:ext cx="2629113" cy="584775"/>
          </a:xfrm>
          <a:prstGeom prst="rect">
            <a:avLst/>
          </a:prstGeom>
        </p:spPr>
        <p:txBody>
          <a:bodyPr wrap="square">
            <a:spAutoFit/>
          </a:bodyPr>
          <a:lstStyle/>
          <a:p>
            <a:r>
              <a:rPr lang="en-GB" sz="1600" b="1" dirty="0">
                <a:solidFill>
                  <a:schemeClr val="tx2"/>
                </a:solidFill>
              </a:rPr>
              <a:t>Schedule of Accommodation</a:t>
            </a:r>
            <a:endParaRPr lang="en-US" sz="1600" b="1" dirty="0">
              <a:solidFill>
                <a:schemeClr val="tx2"/>
              </a:solidFill>
            </a:endParaRPr>
          </a:p>
        </p:txBody>
      </p:sp>
      <p:sp>
        <p:nvSpPr>
          <p:cNvPr id="17" name="TextBox 16">
            <a:extLst>
              <a:ext uri="{FF2B5EF4-FFF2-40B4-BE49-F238E27FC236}">
                <a16:creationId xmlns:a16="http://schemas.microsoft.com/office/drawing/2014/main" id="{714FACF3-EBE2-BDD5-C0B6-49FF55EADC29}"/>
              </a:ext>
            </a:extLst>
          </p:cNvPr>
          <p:cNvSpPr txBox="1"/>
          <p:nvPr/>
        </p:nvSpPr>
        <p:spPr>
          <a:xfrm>
            <a:off x="5096117" y="2551350"/>
            <a:ext cx="2249785" cy="369332"/>
          </a:xfrm>
          <a:prstGeom prst="rect">
            <a:avLst/>
          </a:prstGeom>
          <a:noFill/>
          <a:ln>
            <a:noFill/>
          </a:ln>
          <a:effectLst/>
        </p:spPr>
        <p:txBody>
          <a:bodyPr vert="horz" wrap="square" lIns="0" tIns="0" rIns="0" bIns="0" rtlCol="0">
            <a:spAutoFit/>
          </a:bodyPr>
          <a:lstStyle/>
          <a:p>
            <a:r>
              <a:rPr lang="en-US" sz="1200" dirty="0"/>
              <a:t>The subject property is available on a new long-term lease. </a:t>
            </a:r>
            <a:endParaRPr lang="en-US" sz="1000" dirty="0"/>
          </a:p>
        </p:txBody>
      </p:sp>
      <p:sp>
        <p:nvSpPr>
          <p:cNvPr id="18" name="Rectangle 17">
            <a:extLst>
              <a:ext uri="{FF2B5EF4-FFF2-40B4-BE49-F238E27FC236}">
                <a16:creationId xmlns:a16="http://schemas.microsoft.com/office/drawing/2014/main" id="{22892FC9-CEA0-5421-AE4D-BFA6395653C5}"/>
              </a:ext>
            </a:extLst>
          </p:cNvPr>
          <p:cNvSpPr/>
          <p:nvPr/>
        </p:nvSpPr>
        <p:spPr>
          <a:xfrm>
            <a:off x="4978182" y="2223995"/>
            <a:ext cx="1309216" cy="338554"/>
          </a:xfrm>
          <a:prstGeom prst="rect">
            <a:avLst/>
          </a:prstGeom>
        </p:spPr>
        <p:txBody>
          <a:bodyPr wrap="square">
            <a:spAutoFit/>
          </a:bodyPr>
          <a:lstStyle/>
          <a:p>
            <a:r>
              <a:rPr lang="en-US" sz="1600" b="1" dirty="0">
                <a:solidFill>
                  <a:schemeClr val="tx2"/>
                </a:solidFill>
              </a:rPr>
              <a:t>Term</a:t>
            </a:r>
          </a:p>
        </p:txBody>
      </p:sp>
      <p:sp>
        <p:nvSpPr>
          <p:cNvPr id="19" name="TextBox 18">
            <a:extLst>
              <a:ext uri="{FF2B5EF4-FFF2-40B4-BE49-F238E27FC236}">
                <a16:creationId xmlns:a16="http://schemas.microsoft.com/office/drawing/2014/main" id="{D9D03479-6149-562F-49FD-59B717A4D8AA}"/>
              </a:ext>
            </a:extLst>
          </p:cNvPr>
          <p:cNvSpPr txBox="1"/>
          <p:nvPr/>
        </p:nvSpPr>
        <p:spPr>
          <a:xfrm>
            <a:off x="4970026" y="1456819"/>
            <a:ext cx="2085976" cy="830997"/>
          </a:xfrm>
          <a:prstGeom prst="rect">
            <a:avLst/>
          </a:prstGeom>
          <a:noFill/>
          <a:ln>
            <a:noFill/>
          </a:ln>
          <a:effectLst/>
        </p:spPr>
        <p:txBody>
          <a:bodyPr wrap="square">
            <a:spAutoFit/>
          </a:bodyPr>
          <a:lstStyle/>
          <a:p>
            <a:r>
              <a:rPr lang="en-US" sz="1200" i="1" dirty="0"/>
              <a:t>Any intended purchaser will need to satisfy themselves as to the exact area of the subject property</a:t>
            </a:r>
          </a:p>
        </p:txBody>
      </p:sp>
      <p:pic>
        <p:nvPicPr>
          <p:cNvPr id="24" name="Picture 23" descr="A map of a neighborhood&#10;&#10;Description automatically generated">
            <a:extLst>
              <a:ext uri="{FF2B5EF4-FFF2-40B4-BE49-F238E27FC236}">
                <a16:creationId xmlns:a16="http://schemas.microsoft.com/office/drawing/2014/main" id="{F3B56E1E-4228-9A39-3864-1038FB520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048699"/>
            <a:ext cx="7561263" cy="4441120"/>
          </a:xfrm>
          <a:prstGeom prst="rect">
            <a:avLst/>
          </a:prstGeom>
        </p:spPr>
      </p:pic>
      <p:pic>
        <p:nvPicPr>
          <p:cNvPr id="26" name="Picture 25" descr="A black and yellow logo&#10;&#10;Description automatically generated">
            <a:extLst>
              <a:ext uri="{FF2B5EF4-FFF2-40B4-BE49-F238E27FC236}">
                <a16:creationId xmlns:a16="http://schemas.microsoft.com/office/drawing/2014/main" id="{09F6B151-191B-AE89-F29A-62CE8DE3582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6795" y="8870724"/>
            <a:ext cx="1148689" cy="343720"/>
          </a:xfrm>
          <a:prstGeom prst="rect">
            <a:avLst/>
          </a:prstGeom>
        </p:spPr>
      </p:pic>
    </p:spTree>
    <p:extLst>
      <p:ext uri="{BB962C8B-B14F-4D97-AF65-F5344CB8AC3E}">
        <p14:creationId xmlns:p14="http://schemas.microsoft.com/office/powerpoint/2010/main" val="676825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QvCU_mOESK0m1tU9aQ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y7ACxU4h0mwSw8vawDVL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lEPfE1HEmVOqN990lJ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n5gWn.xIkqYwS8N6_8ru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fTvqZylGUSDkxfW6pmeC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FUWzq2KPkG2MGsL3HnxQ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VnO9FM5ly0yDjeH8lMvIH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oLiHhuqW0KWQbZCftys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fTvqZylGUSDkxfW6pmeC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zUex0ruSUGXX1mE0Rms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FUWzq2KPkG2MGsL3Hnx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vr31s2RzE2j7rNtQ65P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VArDqNtmUODjKvLqYne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f3nOZJd1EijlU_s0DZH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6s9ECJ5S0KdZeunK2B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AZv5ckKt0WtoL8qP8iH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dOxAiyfbUOCVdZu.I2h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LHMhcWI40CD1VmBN8Fr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uUCOYT.SkukQSB7wp_w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s3gkYJg0EOBN562FE5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jZ73dhV8E.zth_k4c8E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4gEO1WjyU6lO0v4u68u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Y0F8qz9AUq63AAs2U30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tSANASBEUGX10FTEYlX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4njQtZHQ0CTAnX_7A_O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cwaY9pV0aH5YbFKPX2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HZp9A0fYUqbARhGq_3w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QvCU_mOESK0m1tU9aQ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X6LpS2skq6D23eW31m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KcwaY9pV0aH5YbFKPX2H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heme/theme1.xml><?xml version="1.0" encoding="utf-8"?>
<a:theme xmlns:a="http://schemas.openxmlformats.org/drawingml/2006/main" name="CUS100046_CW PPT A4 portrait template">
  <a:themeElements>
    <a:clrScheme name="C&amp;W Template colours_2015">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0093B2"/>
      </a:hlink>
      <a:folHlink>
        <a:srgbClr val="E4002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a:noFill/>
        </a:ln>
        <a:effectLst/>
      </a:spPr>
      <a:bodyPr vert="horz" wrap="square" lIns="0" tIns="0" rIns="0" bIns="0" rtlCol="0">
        <a:spAutoFit/>
      </a:bodyPr>
      <a:lstStyle>
        <a:defPPr>
          <a:lnSpc>
            <a:spcPct val="110000"/>
          </a:lnSpc>
          <a:defRPr sz="1200" dirty="0"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18. A4 Portrait Template .potx" id="{A213F5D0-18BB-40EF-9FC4-338AC34C099C}" vid="{6E8CD2D2-18BA-406A-9618-7BF8A68FA7CD}"/>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8. A4 Portrait Template </Template>
  <TotalTime>33083</TotalTime>
  <Words>507</Words>
  <Application>Microsoft Office PowerPoint</Application>
  <PresentationFormat>Custom</PresentationFormat>
  <Paragraphs>70</Paragraphs>
  <Slides>3</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Georgia</vt:lpstr>
      <vt:lpstr>Symbol</vt:lpstr>
      <vt:lpstr>CUS100046_CW PPT A4 portrait template</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rri FitzGerald</dc:creator>
  <cp:lastModifiedBy>Niall Kellegher/IRL</cp:lastModifiedBy>
  <cp:revision>272</cp:revision>
  <cp:lastPrinted>2016-09-28T14:37:35Z</cp:lastPrinted>
  <dcterms:created xsi:type="dcterms:W3CDTF">2016-08-16T07:19:48Z</dcterms:created>
  <dcterms:modified xsi:type="dcterms:W3CDTF">2024-01-25T11:27:41Z</dcterms:modified>
</cp:coreProperties>
</file>